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679" r:id="rId4"/>
  </p:sldMasterIdLst>
  <p:notesMasterIdLst>
    <p:notesMasterId r:id="rId26"/>
  </p:notesMasterIdLst>
  <p:handoutMasterIdLst>
    <p:handoutMasterId r:id="rId27"/>
  </p:handoutMasterIdLst>
  <p:sldIdLst>
    <p:sldId id="270" r:id="rId5"/>
    <p:sldId id="874" r:id="rId6"/>
    <p:sldId id="873" r:id="rId7"/>
    <p:sldId id="866" r:id="rId8"/>
    <p:sldId id="867" r:id="rId9"/>
    <p:sldId id="868" r:id="rId10"/>
    <p:sldId id="869" r:id="rId11"/>
    <p:sldId id="870" r:id="rId12"/>
    <p:sldId id="871" r:id="rId13"/>
    <p:sldId id="872" r:id="rId14"/>
    <p:sldId id="877" r:id="rId15"/>
    <p:sldId id="876" r:id="rId16"/>
    <p:sldId id="878" r:id="rId17"/>
    <p:sldId id="880" r:id="rId18"/>
    <p:sldId id="879" r:id="rId19"/>
    <p:sldId id="882" r:id="rId20"/>
    <p:sldId id="883" r:id="rId21"/>
    <p:sldId id="881" r:id="rId22"/>
    <p:sldId id="884" r:id="rId23"/>
    <p:sldId id="885" r:id="rId24"/>
    <p:sldId id="591" r:id="rId25"/>
  </p:sldIdLst>
  <p:sldSz cx="9144000" cy="5143500" type="screen16x9"/>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nil Athayil (UST, USA)" initials="SA(U" lastIdx="11" clrIdx="0">
    <p:extLst>
      <p:ext uri="{19B8F6BF-5375-455C-9EA6-DF929625EA0E}">
        <p15:presenceInfo xmlns:p15="http://schemas.microsoft.com/office/powerpoint/2012/main" userId="S-1-5-21-3314194823-2298894341-969725918-861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E7EAF5"/>
    <a:srgbClr val="0079C1"/>
    <a:srgbClr val="E5EEF9"/>
    <a:srgbClr val="94C5FF"/>
    <a:srgbClr val="004B8C"/>
    <a:srgbClr val="309DDF"/>
    <a:srgbClr val="2F5597"/>
    <a:srgbClr val="78B4AE"/>
    <a:srgbClr val="D5E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60" autoAdjust="0"/>
    <p:restoredTop sz="86439" autoAdjust="0"/>
  </p:normalViewPr>
  <p:slideViewPr>
    <p:cSldViewPr snapToGrid="0" snapToObjects="1">
      <p:cViewPr varScale="1">
        <p:scale>
          <a:sx n="118" d="100"/>
          <a:sy n="118" d="100"/>
        </p:scale>
        <p:origin x="654" y="108"/>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54" d="100"/>
          <a:sy n="54" d="100"/>
        </p:scale>
        <p:origin x="282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iagrams/_rels/data11.xml.rels><?xml version="1.0" encoding="UTF-8" standalone="yes"?>
<Relationships xmlns="http://schemas.openxmlformats.org/package/2006/relationships"><Relationship Id="rId2" Type="http://schemas.openxmlformats.org/officeDocument/2006/relationships/hyperlink" Target="https://en.wikipedia.org/wiki/Database_index" TargetMode="External"/><Relationship Id="rId1" Type="http://schemas.openxmlformats.org/officeDocument/2006/relationships/hyperlink" Target="https://medium.freecodecamp.org/how-to-implement-a-simple-hash-table-in-javascript-cb3b9c1f2997" TargetMode="External"/></Relationships>
</file>

<file path=ppt/diagrams/_rels/data12.xml.rels><?xml version="1.0" encoding="UTF-8" standalone="yes"?>
<Relationships xmlns="http://schemas.openxmlformats.org/package/2006/relationships"><Relationship Id="rId3" Type="http://schemas.openxmlformats.org/officeDocument/2006/relationships/hyperlink" Target="https://www.xoriant.com/blog/product-engineering/jest-fast-furious-unit-testing-framework.html" TargetMode="External"/><Relationship Id="rId2" Type="http://schemas.openxmlformats.org/officeDocument/2006/relationships/hyperlink" Target="https://jestjs.io/docs/en/getting-started.html" TargetMode="External"/><Relationship Id="rId1" Type="http://schemas.openxmlformats.org/officeDocument/2006/relationships/hyperlink" Target="https://devfreebooks.github.io/nodejs/" TargetMode="External"/><Relationship Id="rId5" Type="http://schemas.openxmlformats.org/officeDocument/2006/relationships/hyperlink" Target="https://www.youtube.com/watch?v=TlB_eWDSMt4" TargetMode="External"/><Relationship Id="rId4" Type="http://schemas.openxmlformats.org/officeDocument/2006/relationships/hyperlink" Target="https://blog.teamtreehouse.com/install-node-js-npm-windows" TargetMode="External"/></Relationships>
</file>

<file path=ppt/diagrams/_rels/data13.xml.rels><?xml version="1.0" encoding="UTF-8" standalone="yes"?>
<Relationships xmlns="http://schemas.openxmlformats.org/package/2006/relationships"><Relationship Id="rId1" Type="http://schemas.openxmlformats.org/officeDocument/2006/relationships/hyperlink" Target="https://devfreebooks.github.io/nodejs/" TargetMode="External"/></Relationships>
</file>

<file path=ppt/diagrams/_rels/data14.xml.rels><?xml version="1.0" encoding="UTF-8" standalone="yes"?>
<Relationships xmlns="http://schemas.openxmlformats.org/package/2006/relationships"><Relationship Id="rId1" Type="http://schemas.openxmlformats.org/officeDocument/2006/relationships/hyperlink" Target="https://devfreebooks.github.io/nodejs/" TargetMode="External"/></Relationships>
</file>

<file path=ppt/diagrams/_rels/data7.xml.rels><?xml version="1.0" encoding="UTF-8" standalone="yes"?>
<Relationships xmlns="http://schemas.openxmlformats.org/package/2006/relationships"><Relationship Id="rId3" Type="http://schemas.openxmlformats.org/officeDocument/2006/relationships/hyperlink" Target="https://egyankosh.ac.in/handle/123456789/976" TargetMode="External"/><Relationship Id="rId2" Type="http://schemas.openxmlformats.org/officeDocument/2006/relationships/hyperlink" Target="https://www.ibm.com/developerworks/rational/library/769.html" TargetMode="External"/><Relationship Id="rId1" Type="http://schemas.openxmlformats.org/officeDocument/2006/relationships/hyperlink" Target="https://www.tutorialspoint.com/object_oriented_analysis_design/ooad_object_oriented_model.ht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egyankosh.ac.in/handle/123456789/976" TargetMode="External"/></Relationships>
</file>

<file path=ppt/diagrams/_rels/drawing11.xml.rels><?xml version="1.0" encoding="UTF-8" standalone="yes"?>
<Relationships xmlns="http://schemas.openxmlformats.org/package/2006/relationships"><Relationship Id="rId2" Type="http://schemas.openxmlformats.org/officeDocument/2006/relationships/hyperlink" Target="https://en.wikipedia.org/wiki/Database_index" TargetMode="External"/><Relationship Id="rId1" Type="http://schemas.openxmlformats.org/officeDocument/2006/relationships/hyperlink" Target="https://medium.freecodecamp.org/how-to-implement-a-simple-hash-table-in-javascript-cb3b9c1f2997" TargetMode="External"/></Relationships>
</file>

<file path=ppt/diagrams/_rels/drawing12.xml.rels><?xml version="1.0" encoding="UTF-8" standalone="yes"?>
<Relationships xmlns="http://schemas.openxmlformats.org/package/2006/relationships"><Relationship Id="rId3" Type="http://schemas.openxmlformats.org/officeDocument/2006/relationships/hyperlink" Target="https://jestjs.io/docs/en/getting-started.html" TargetMode="External"/><Relationship Id="rId2" Type="http://schemas.openxmlformats.org/officeDocument/2006/relationships/hyperlink" Target="https://www.youtube.com/watch?v=TlB_eWDSMt4" TargetMode="External"/><Relationship Id="rId1" Type="http://schemas.openxmlformats.org/officeDocument/2006/relationships/hyperlink" Target="https://blog.teamtreehouse.com/install-node-js-npm-windows" TargetMode="External"/><Relationship Id="rId5" Type="http://schemas.openxmlformats.org/officeDocument/2006/relationships/hyperlink" Target="https://devfreebooks.github.io/nodejs/" TargetMode="External"/><Relationship Id="rId4" Type="http://schemas.openxmlformats.org/officeDocument/2006/relationships/hyperlink" Target="https://www.xoriant.com/blog/product-engineering/jest-fast-furious-unit-testing-framework.html" TargetMode="External"/></Relationships>
</file>

<file path=ppt/diagrams/_rels/drawing13.xml.rels><?xml version="1.0" encoding="UTF-8" standalone="yes"?>
<Relationships xmlns="http://schemas.openxmlformats.org/package/2006/relationships"><Relationship Id="rId1" Type="http://schemas.openxmlformats.org/officeDocument/2006/relationships/hyperlink" Target="https://devfreebooks.github.io/nodejs/" TargetMode="External"/></Relationships>
</file>

<file path=ppt/diagrams/_rels/drawing14.xml.rels><?xml version="1.0" encoding="UTF-8" standalone="yes"?>
<Relationships xmlns="http://schemas.openxmlformats.org/package/2006/relationships"><Relationship Id="rId1" Type="http://schemas.openxmlformats.org/officeDocument/2006/relationships/hyperlink" Target="https://devfreebooks.github.io/nodejs/" TargetMode="External"/></Relationships>
</file>

<file path=ppt/diagrams/_rels/drawing7.xml.rels><?xml version="1.0" encoding="UTF-8" standalone="yes"?>
<Relationships xmlns="http://schemas.openxmlformats.org/package/2006/relationships"><Relationship Id="rId3" Type="http://schemas.openxmlformats.org/officeDocument/2006/relationships/hyperlink" Target="https://egyankosh.ac.in/handle/123456789/976" TargetMode="External"/><Relationship Id="rId2" Type="http://schemas.openxmlformats.org/officeDocument/2006/relationships/hyperlink" Target="https://www.ibm.com/developerworks/rational/library/769.html" TargetMode="External"/><Relationship Id="rId1" Type="http://schemas.openxmlformats.org/officeDocument/2006/relationships/hyperlink" Target="https://www.tutorialspoint.com/object_oriented_analysis_design/ooad_object_oriented_model.ht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egyankosh.ac.in/handle/123456789/976" TargetMode="Externa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85C1E3-8A72-4245-A9C5-97609B4F065E}" type="doc">
      <dgm:prSet loTypeId="urn:microsoft.com/office/officeart/2005/8/layout/orgChart1" loCatId="hierarchy" qsTypeId="urn:microsoft.com/office/officeart/2005/8/quickstyle/simple1" qsCatId="simple" csTypeId="urn:microsoft.com/office/officeart/2005/8/colors/accent5_4" csCatId="accent5" phldr="1"/>
      <dgm:spPr/>
      <dgm:t>
        <a:bodyPr/>
        <a:lstStyle/>
        <a:p>
          <a:endParaRPr lang="en-US"/>
        </a:p>
      </dgm:t>
    </dgm:pt>
    <dgm:pt modelId="{C47881CE-CC45-4EE0-9C66-CD926C29C589}">
      <dgm:prSet/>
      <dgm:spPr/>
      <dgm:t>
        <a:bodyPr/>
        <a:lstStyle/>
        <a:p>
          <a:r>
            <a:rPr lang="en-US"/>
            <a:t>Objectives</a:t>
          </a:r>
        </a:p>
      </dgm:t>
    </dgm:pt>
    <dgm:pt modelId="{6EF90140-074B-4CC6-A11E-0A2207D6C814}" type="parTrans" cxnId="{7F9A475C-D20D-4426-85CF-F48B9BE2551D}">
      <dgm:prSet/>
      <dgm:spPr/>
      <dgm:t>
        <a:bodyPr/>
        <a:lstStyle/>
        <a:p>
          <a:endParaRPr lang="en-US"/>
        </a:p>
      </dgm:t>
    </dgm:pt>
    <dgm:pt modelId="{588585D2-4277-493E-AE70-DD0FDB87E22A}" type="sibTrans" cxnId="{7F9A475C-D20D-4426-85CF-F48B9BE2551D}">
      <dgm:prSet/>
      <dgm:spPr/>
      <dgm:t>
        <a:bodyPr/>
        <a:lstStyle/>
        <a:p>
          <a:endParaRPr lang="en-US"/>
        </a:p>
      </dgm:t>
    </dgm:pt>
    <dgm:pt modelId="{DCF770A7-7DCD-448B-9058-9093509AFBE0}">
      <dgm:prSet/>
      <dgm:spPr/>
      <dgm:t>
        <a:bodyPr/>
        <a:lstStyle/>
        <a:p>
          <a:r>
            <a:rPr lang="en-US"/>
            <a:t>Programming skills – 35% marks</a:t>
          </a:r>
        </a:p>
      </dgm:t>
    </dgm:pt>
    <dgm:pt modelId="{7080E527-0B1A-45E7-B01B-EDC088CB159F}" type="parTrans" cxnId="{103E3ED0-0666-4039-A9E1-45E29AF49535}">
      <dgm:prSet/>
      <dgm:spPr/>
      <dgm:t>
        <a:bodyPr/>
        <a:lstStyle/>
        <a:p>
          <a:endParaRPr lang="en-US"/>
        </a:p>
      </dgm:t>
    </dgm:pt>
    <dgm:pt modelId="{AA1C83BC-762E-4A57-8B8B-D6F597811AA1}" type="sibTrans" cxnId="{103E3ED0-0666-4039-A9E1-45E29AF49535}">
      <dgm:prSet/>
      <dgm:spPr/>
      <dgm:t>
        <a:bodyPr/>
        <a:lstStyle/>
        <a:p>
          <a:endParaRPr lang="en-US"/>
        </a:p>
      </dgm:t>
    </dgm:pt>
    <dgm:pt modelId="{A1EBF984-258F-4179-9D5D-74BC93DE2D43}">
      <dgm:prSet/>
      <dgm:spPr/>
      <dgm:t>
        <a:bodyPr/>
        <a:lstStyle/>
        <a:p>
          <a:r>
            <a:rPr lang="en-US"/>
            <a:t>Hands on training for 7 weeks – 5% per week</a:t>
          </a:r>
        </a:p>
      </dgm:t>
    </dgm:pt>
    <dgm:pt modelId="{64C329D8-C7C1-40FF-8B92-B9FAC0E126AB}" type="parTrans" cxnId="{58B668AA-D731-473A-9BDB-7013504FB1DB}">
      <dgm:prSet/>
      <dgm:spPr/>
      <dgm:t>
        <a:bodyPr/>
        <a:lstStyle/>
        <a:p>
          <a:endParaRPr lang="en-US"/>
        </a:p>
      </dgm:t>
    </dgm:pt>
    <dgm:pt modelId="{E656A046-8FD4-4FBE-96F3-F898E8D245B2}" type="sibTrans" cxnId="{58B668AA-D731-473A-9BDB-7013504FB1DB}">
      <dgm:prSet/>
      <dgm:spPr/>
      <dgm:t>
        <a:bodyPr/>
        <a:lstStyle/>
        <a:p>
          <a:endParaRPr lang="en-US"/>
        </a:p>
      </dgm:t>
    </dgm:pt>
    <dgm:pt modelId="{4E337052-017A-4571-8F72-2F9166B6E532}">
      <dgm:prSet/>
      <dgm:spPr/>
      <dgm:t>
        <a:bodyPr/>
        <a:lstStyle/>
        <a:p>
          <a:r>
            <a:rPr lang="en-US"/>
            <a:t>Deep dive for 2 weeks</a:t>
          </a:r>
        </a:p>
      </dgm:t>
    </dgm:pt>
    <dgm:pt modelId="{6DE6AE15-5FC8-4E56-89C6-BB2E4AE6C0BF}" type="parTrans" cxnId="{92633CAA-B77A-426C-995E-BDC3AF6A2247}">
      <dgm:prSet/>
      <dgm:spPr/>
      <dgm:t>
        <a:bodyPr/>
        <a:lstStyle/>
        <a:p>
          <a:endParaRPr lang="en-US"/>
        </a:p>
      </dgm:t>
    </dgm:pt>
    <dgm:pt modelId="{E82FA755-723B-4970-A55A-D31DFD5DC572}" type="sibTrans" cxnId="{92633CAA-B77A-426C-995E-BDC3AF6A2247}">
      <dgm:prSet/>
      <dgm:spPr/>
      <dgm:t>
        <a:bodyPr/>
        <a:lstStyle/>
        <a:p>
          <a:endParaRPr lang="en-US"/>
        </a:p>
      </dgm:t>
    </dgm:pt>
    <dgm:pt modelId="{E1FBF417-ABB4-41EE-9942-2BDE152CFE66}">
      <dgm:prSet/>
      <dgm:spPr/>
      <dgm:t>
        <a:bodyPr/>
        <a:lstStyle/>
        <a:p>
          <a:r>
            <a:rPr lang="en-US"/>
            <a:t>Development at scale – 50%</a:t>
          </a:r>
        </a:p>
      </dgm:t>
    </dgm:pt>
    <dgm:pt modelId="{1F8344B7-393F-448F-87E4-6894A67E60BF}" type="parTrans" cxnId="{1B29A830-5132-4BA0-AED0-78551EE03944}">
      <dgm:prSet/>
      <dgm:spPr/>
      <dgm:t>
        <a:bodyPr/>
        <a:lstStyle/>
        <a:p>
          <a:endParaRPr lang="en-US"/>
        </a:p>
      </dgm:t>
    </dgm:pt>
    <dgm:pt modelId="{B3478A3C-A7F8-4F49-B1E5-A937270ED6F6}" type="sibTrans" cxnId="{1B29A830-5132-4BA0-AED0-78551EE03944}">
      <dgm:prSet/>
      <dgm:spPr/>
      <dgm:t>
        <a:bodyPr/>
        <a:lstStyle/>
        <a:p>
          <a:endParaRPr lang="en-US"/>
        </a:p>
      </dgm:t>
    </dgm:pt>
    <dgm:pt modelId="{7E3575E1-3D65-45F6-A13C-0B7C8D42AACE}">
      <dgm:prSet/>
      <dgm:spPr/>
      <dgm:t>
        <a:bodyPr/>
        <a:lstStyle/>
        <a:p>
          <a:r>
            <a:rPr lang="en-US"/>
            <a:t>Individual project – 20%</a:t>
          </a:r>
        </a:p>
      </dgm:t>
    </dgm:pt>
    <dgm:pt modelId="{9D1653C4-1BB4-4953-8F6F-A126D5BEB635}" type="parTrans" cxnId="{DF5F4FA7-88C6-4727-AE20-7E894F9AF590}">
      <dgm:prSet/>
      <dgm:spPr/>
      <dgm:t>
        <a:bodyPr/>
        <a:lstStyle/>
        <a:p>
          <a:endParaRPr lang="en-US"/>
        </a:p>
      </dgm:t>
    </dgm:pt>
    <dgm:pt modelId="{28FC5F05-5CE9-414D-AC63-97D3CBC43AEE}" type="sibTrans" cxnId="{DF5F4FA7-88C6-4727-AE20-7E894F9AF590}">
      <dgm:prSet/>
      <dgm:spPr/>
      <dgm:t>
        <a:bodyPr/>
        <a:lstStyle/>
        <a:p>
          <a:endParaRPr lang="en-US"/>
        </a:p>
      </dgm:t>
    </dgm:pt>
    <dgm:pt modelId="{B9953076-97A4-48D1-BDB5-CAD0606609C4}">
      <dgm:prSet/>
      <dgm:spPr/>
      <dgm:t>
        <a:bodyPr/>
        <a:lstStyle/>
        <a:p>
          <a:r>
            <a:rPr lang="en-US"/>
            <a:t>Team based development – 30%</a:t>
          </a:r>
        </a:p>
      </dgm:t>
    </dgm:pt>
    <dgm:pt modelId="{726B1038-F895-48A0-A0B2-8FB92A4D4E29}" type="parTrans" cxnId="{ABD060C7-2BFC-4976-B4D0-098C1B803F12}">
      <dgm:prSet/>
      <dgm:spPr/>
      <dgm:t>
        <a:bodyPr/>
        <a:lstStyle/>
        <a:p>
          <a:endParaRPr lang="en-US"/>
        </a:p>
      </dgm:t>
    </dgm:pt>
    <dgm:pt modelId="{CCBB871C-8931-4EAC-A3EE-3228E0F01189}" type="sibTrans" cxnId="{ABD060C7-2BFC-4976-B4D0-098C1B803F12}">
      <dgm:prSet/>
      <dgm:spPr/>
      <dgm:t>
        <a:bodyPr/>
        <a:lstStyle/>
        <a:p>
          <a:endParaRPr lang="en-US"/>
        </a:p>
      </dgm:t>
    </dgm:pt>
    <dgm:pt modelId="{187F2EC7-E289-4750-8566-FA8A236F62D7}">
      <dgm:prSet/>
      <dgm:spPr/>
      <dgm:t>
        <a:bodyPr/>
        <a:lstStyle/>
        <a:p>
          <a:r>
            <a:rPr lang="en-US"/>
            <a:t>Breadth of knowledge – 15%</a:t>
          </a:r>
        </a:p>
      </dgm:t>
    </dgm:pt>
    <dgm:pt modelId="{C8329EA0-8C20-4CDD-A2B4-7AF562B07CFA}" type="parTrans" cxnId="{9E3DB8D0-8D2B-434F-889B-26D9B7D09FB1}">
      <dgm:prSet/>
      <dgm:spPr/>
      <dgm:t>
        <a:bodyPr/>
        <a:lstStyle/>
        <a:p>
          <a:endParaRPr lang="en-US"/>
        </a:p>
      </dgm:t>
    </dgm:pt>
    <dgm:pt modelId="{0F8B9B8D-712B-4CC3-BCFD-CA6B1A137904}" type="sibTrans" cxnId="{9E3DB8D0-8D2B-434F-889B-26D9B7D09FB1}">
      <dgm:prSet/>
      <dgm:spPr/>
      <dgm:t>
        <a:bodyPr/>
        <a:lstStyle/>
        <a:p>
          <a:endParaRPr lang="en-US"/>
        </a:p>
      </dgm:t>
    </dgm:pt>
    <dgm:pt modelId="{4998C4FD-9A8D-4614-AC61-360A6DA5D9E8}">
      <dgm:prSet/>
      <dgm:spPr/>
      <dgm:t>
        <a:bodyPr/>
        <a:lstStyle/>
        <a:p>
          <a:r>
            <a:rPr lang="en-US"/>
            <a:t>Weekly team presentation of a topic 2.5%</a:t>
          </a:r>
        </a:p>
      </dgm:t>
    </dgm:pt>
    <dgm:pt modelId="{A6E7A8D8-8F6D-4CDC-A0B1-CA868E7E33EC}" type="parTrans" cxnId="{8CF08C3C-29EA-4F63-9CB8-05726B6D3745}">
      <dgm:prSet/>
      <dgm:spPr/>
      <dgm:t>
        <a:bodyPr/>
        <a:lstStyle/>
        <a:p>
          <a:endParaRPr lang="en-US"/>
        </a:p>
      </dgm:t>
    </dgm:pt>
    <dgm:pt modelId="{7EA6CAE2-919A-4503-9B06-3EBD3B7EFB1B}" type="sibTrans" cxnId="{8CF08C3C-29EA-4F63-9CB8-05726B6D3745}">
      <dgm:prSet/>
      <dgm:spPr/>
      <dgm:t>
        <a:bodyPr/>
        <a:lstStyle/>
        <a:p>
          <a:endParaRPr lang="en-US"/>
        </a:p>
      </dgm:t>
    </dgm:pt>
    <dgm:pt modelId="{2F4DCCE6-036A-47C1-9E74-87467B65BC23}" type="pres">
      <dgm:prSet presAssocID="{E285C1E3-8A72-4245-A9C5-97609B4F065E}" presName="hierChild1" presStyleCnt="0">
        <dgm:presLayoutVars>
          <dgm:orgChart val="1"/>
          <dgm:chPref val="1"/>
          <dgm:dir/>
          <dgm:animOne val="branch"/>
          <dgm:animLvl val="lvl"/>
          <dgm:resizeHandles/>
        </dgm:presLayoutVars>
      </dgm:prSet>
      <dgm:spPr/>
    </dgm:pt>
    <dgm:pt modelId="{0A319DCF-BFE8-4748-8340-D7B84A0D395F}" type="pres">
      <dgm:prSet presAssocID="{C47881CE-CC45-4EE0-9C66-CD926C29C589}" presName="hierRoot1" presStyleCnt="0">
        <dgm:presLayoutVars>
          <dgm:hierBranch val="init"/>
        </dgm:presLayoutVars>
      </dgm:prSet>
      <dgm:spPr/>
    </dgm:pt>
    <dgm:pt modelId="{2E20D26C-A9C2-4190-8908-7A10AEE24B05}" type="pres">
      <dgm:prSet presAssocID="{C47881CE-CC45-4EE0-9C66-CD926C29C589}" presName="rootComposite1" presStyleCnt="0"/>
      <dgm:spPr/>
    </dgm:pt>
    <dgm:pt modelId="{565EEADA-CE3D-4163-80F4-CB70724EEA75}" type="pres">
      <dgm:prSet presAssocID="{C47881CE-CC45-4EE0-9C66-CD926C29C589}" presName="rootText1" presStyleLbl="node0" presStyleIdx="0" presStyleCnt="1">
        <dgm:presLayoutVars>
          <dgm:chPref val="3"/>
        </dgm:presLayoutVars>
      </dgm:prSet>
      <dgm:spPr/>
    </dgm:pt>
    <dgm:pt modelId="{98B5B899-E770-406C-9550-D26A3F5D0902}" type="pres">
      <dgm:prSet presAssocID="{C47881CE-CC45-4EE0-9C66-CD926C29C589}" presName="rootConnector1" presStyleLbl="node1" presStyleIdx="0" presStyleCnt="0"/>
      <dgm:spPr/>
    </dgm:pt>
    <dgm:pt modelId="{9F44393F-18A3-4102-9506-B33B865240EC}" type="pres">
      <dgm:prSet presAssocID="{C47881CE-CC45-4EE0-9C66-CD926C29C589}" presName="hierChild2" presStyleCnt="0"/>
      <dgm:spPr/>
    </dgm:pt>
    <dgm:pt modelId="{C4E0D1BD-6196-4066-BF5E-1492B203FB1C}" type="pres">
      <dgm:prSet presAssocID="{7080E527-0B1A-45E7-B01B-EDC088CB159F}" presName="Name37" presStyleLbl="parChTrans1D2" presStyleIdx="0" presStyleCnt="3"/>
      <dgm:spPr/>
    </dgm:pt>
    <dgm:pt modelId="{CA9596B1-72D7-48A2-88EA-3107F4221DCC}" type="pres">
      <dgm:prSet presAssocID="{DCF770A7-7DCD-448B-9058-9093509AFBE0}" presName="hierRoot2" presStyleCnt="0">
        <dgm:presLayoutVars>
          <dgm:hierBranch val="init"/>
        </dgm:presLayoutVars>
      </dgm:prSet>
      <dgm:spPr/>
    </dgm:pt>
    <dgm:pt modelId="{C581F4CF-40EA-45A5-8ED3-A2A777D0CC36}" type="pres">
      <dgm:prSet presAssocID="{DCF770A7-7DCD-448B-9058-9093509AFBE0}" presName="rootComposite" presStyleCnt="0"/>
      <dgm:spPr/>
    </dgm:pt>
    <dgm:pt modelId="{26C629AF-38DC-40C1-928F-5123B96509E5}" type="pres">
      <dgm:prSet presAssocID="{DCF770A7-7DCD-448B-9058-9093509AFBE0}" presName="rootText" presStyleLbl="node2" presStyleIdx="0" presStyleCnt="3" custScaleY="113283">
        <dgm:presLayoutVars>
          <dgm:chPref val="3"/>
        </dgm:presLayoutVars>
      </dgm:prSet>
      <dgm:spPr/>
    </dgm:pt>
    <dgm:pt modelId="{68AFF768-26C2-4FF3-8DDB-154F1FAB80F2}" type="pres">
      <dgm:prSet presAssocID="{DCF770A7-7DCD-448B-9058-9093509AFBE0}" presName="rootConnector" presStyleLbl="node2" presStyleIdx="0" presStyleCnt="3"/>
      <dgm:spPr/>
    </dgm:pt>
    <dgm:pt modelId="{6D1CC717-625A-41A5-A41B-F16E984EA9E2}" type="pres">
      <dgm:prSet presAssocID="{DCF770A7-7DCD-448B-9058-9093509AFBE0}" presName="hierChild4" presStyleCnt="0"/>
      <dgm:spPr/>
    </dgm:pt>
    <dgm:pt modelId="{36E950AC-307C-49A6-87D3-1CBDE44C5DBF}" type="pres">
      <dgm:prSet presAssocID="{64C329D8-C7C1-40FF-8B92-B9FAC0E126AB}" presName="Name37" presStyleLbl="parChTrans1D3" presStyleIdx="0" presStyleCnt="5"/>
      <dgm:spPr/>
    </dgm:pt>
    <dgm:pt modelId="{B2D4BD50-5A18-4BAF-B915-26B799BBC357}" type="pres">
      <dgm:prSet presAssocID="{A1EBF984-258F-4179-9D5D-74BC93DE2D43}" presName="hierRoot2" presStyleCnt="0">
        <dgm:presLayoutVars>
          <dgm:hierBranch val="init"/>
        </dgm:presLayoutVars>
      </dgm:prSet>
      <dgm:spPr/>
    </dgm:pt>
    <dgm:pt modelId="{931BBD30-0BCD-40B9-AA63-C1573EBD72F1}" type="pres">
      <dgm:prSet presAssocID="{A1EBF984-258F-4179-9D5D-74BC93DE2D43}" presName="rootComposite" presStyleCnt="0"/>
      <dgm:spPr/>
    </dgm:pt>
    <dgm:pt modelId="{E3F679D2-B6B7-4DD3-AE39-C90FE694DBB7}" type="pres">
      <dgm:prSet presAssocID="{A1EBF984-258F-4179-9D5D-74BC93DE2D43}" presName="rootText" presStyleLbl="node3" presStyleIdx="0" presStyleCnt="5">
        <dgm:presLayoutVars>
          <dgm:chPref val="3"/>
        </dgm:presLayoutVars>
      </dgm:prSet>
      <dgm:spPr/>
    </dgm:pt>
    <dgm:pt modelId="{D6D65AD7-2544-47EE-A81E-DB1BF7AA76DF}" type="pres">
      <dgm:prSet presAssocID="{A1EBF984-258F-4179-9D5D-74BC93DE2D43}" presName="rootConnector" presStyleLbl="node3" presStyleIdx="0" presStyleCnt="5"/>
      <dgm:spPr/>
    </dgm:pt>
    <dgm:pt modelId="{D63B9CD2-0272-4B58-9AA7-38BBB2784BCB}" type="pres">
      <dgm:prSet presAssocID="{A1EBF984-258F-4179-9D5D-74BC93DE2D43}" presName="hierChild4" presStyleCnt="0"/>
      <dgm:spPr/>
    </dgm:pt>
    <dgm:pt modelId="{D665A902-E190-4125-BC6D-3D5CCA467076}" type="pres">
      <dgm:prSet presAssocID="{A1EBF984-258F-4179-9D5D-74BC93DE2D43}" presName="hierChild5" presStyleCnt="0"/>
      <dgm:spPr/>
    </dgm:pt>
    <dgm:pt modelId="{DBE3312E-9A64-47F7-8CA1-6A485A5627D5}" type="pres">
      <dgm:prSet presAssocID="{6DE6AE15-5FC8-4E56-89C6-BB2E4AE6C0BF}" presName="Name37" presStyleLbl="parChTrans1D3" presStyleIdx="1" presStyleCnt="5"/>
      <dgm:spPr/>
    </dgm:pt>
    <dgm:pt modelId="{8B51B157-E9FD-463C-A083-67CDEC71BB05}" type="pres">
      <dgm:prSet presAssocID="{4E337052-017A-4571-8F72-2F9166B6E532}" presName="hierRoot2" presStyleCnt="0">
        <dgm:presLayoutVars>
          <dgm:hierBranch val="init"/>
        </dgm:presLayoutVars>
      </dgm:prSet>
      <dgm:spPr/>
    </dgm:pt>
    <dgm:pt modelId="{40D2675A-606C-41DE-A7A2-DBD46B1CF881}" type="pres">
      <dgm:prSet presAssocID="{4E337052-017A-4571-8F72-2F9166B6E532}" presName="rootComposite" presStyleCnt="0"/>
      <dgm:spPr/>
    </dgm:pt>
    <dgm:pt modelId="{D0EF95F5-A4C2-4B08-B8CC-039C9BF43E9C}" type="pres">
      <dgm:prSet presAssocID="{4E337052-017A-4571-8F72-2F9166B6E532}" presName="rootText" presStyleLbl="node3" presStyleIdx="1" presStyleCnt="5">
        <dgm:presLayoutVars>
          <dgm:chPref val="3"/>
        </dgm:presLayoutVars>
      </dgm:prSet>
      <dgm:spPr/>
    </dgm:pt>
    <dgm:pt modelId="{61516C1C-C451-4916-9F51-D26C63C77151}" type="pres">
      <dgm:prSet presAssocID="{4E337052-017A-4571-8F72-2F9166B6E532}" presName="rootConnector" presStyleLbl="node3" presStyleIdx="1" presStyleCnt="5"/>
      <dgm:spPr/>
    </dgm:pt>
    <dgm:pt modelId="{F6C36022-40FC-42FC-AF53-1FBFA04D6DC9}" type="pres">
      <dgm:prSet presAssocID="{4E337052-017A-4571-8F72-2F9166B6E532}" presName="hierChild4" presStyleCnt="0"/>
      <dgm:spPr/>
    </dgm:pt>
    <dgm:pt modelId="{1846F68C-A5B9-42F4-A0E0-8A064AA92388}" type="pres">
      <dgm:prSet presAssocID="{4E337052-017A-4571-8F72-2F9166B6E532}" presName="hierChild5" presStyleCnt="0"/>
      <dgm:spPr/>
    </dgm:pt>
    <dgm:pt modelId="{AA1B3DB7-4793-419F-94BC-D949DAFFB6CB}" type="pres">
      <dgm:prSet presAssocID="{DCF770A7-7DCD-448B-9058-9093509AFBE0}" presName="hierChild5" presStyleCnt="0"/>
      <dgm:spPr/>
    </dgm:pt>
    <dgm:pt modelId="{56388E17-C062-4A25-86DF-0652A2EF0439}" type="pres">
      <dgm:prSet presAssocID="{1F8344B7-393F-448F-87E4-6894A67E60BF}" presName="Name37" presStyleLbl="parChTrans1D2" presStyleIdx="1" presStyleCnt="3"/>
      <dgm:spPr/>
    </dgm:pt>
    <dgm:pt modelId="{80F7B2E2-AB6C-4633-B7A2-3A619F519C7B}" type="pres">
      <dgm:prSet presAssocID="{E1FBF417-ABB4-41EE-9942-2BDE152CFE66}" presName="hierRoot2" presStyleCnt="0">
        <dgm:presLayoutVars>
          <dgm:hierBranch val="init"/>
        </dgm:presLayoutVars>
      </dgm:prSet>
      <dgm:spPr/>
    </dgm:pt>
    <dgm:pt modelId="{BD637762-C5A7-40F3-B463-1D53AF2D1CDF}" type="pres">
      <dgm:prSet presAssocID="{E1FBF417-ABB4-41EE-9942-2BDE152CFE66}" presName="rootComposite" presStyleCnt="0"/>
      <dgm:spPr/>
    </dgm:pt>
    <dgm:pt modelId="{FEC0462F-294F-41FF-A5B3-B6EF94164A27}" type="pres">
      <dgm:prSet presAssocID="{E1FBF417-ABB4-41EE-9942-2BDE152CFE66}" presName="rootText" presStyleLbl="node2" presStyleIdx="1" presStyleCnt="3" custScaleY="109523">
        <dgm:presLayoutVars>
          <dgm:chPref val="3"/>
        </dgm:presLayoutVars>
      </dgm:prSet>
      <dgm:spPr/>
    </dgm:pt>
    <dgm:pt modelId="{3568C25F-0522-4752-81DC-E084539560DA}" type="pres">
      <dgm:prSet presAssocID="{E1FBF417-ABB4-41EE-9942-2BDE152CFE66}" presName="rootConnector" presStyleLbl="node2" presStyleIdx="1" presStyleCnt="3"/>
      <dgm:spPr/>
    </dgm:pt>
    <dgm:pt modelId="{69E20AB9-9E19-4EC4-883D-2FCF1B385CDE}" type="pres">
      <dgm:prSet presAssocID="{E1FBF417-ABB4-41EE-9942-2BDE152CFE66}" presName="hierChild4" presStyleCnt="0"/>
      <dgm:spPr/>
    </dgm:pt>
    <dgm:pt modelId="{E80FF95F-092E-4762-8A32-9F447AAE9E31}" type="pres">
      <dgm:prSet presAssocID="{9D1653C4-1BB4-4953-8F6F-A126D5BEB635}" presName="Name37" presStyleLbl="parChTrans1D3" presStyleIdx="2" presStyleCnt="5"/>
      <dgm:spPr/>
    </dgm:pt>
    <dgm:pt modelId="{3F5351DF-C1D2-4F38-ADC8-41A4CB824862}" type="pres">
      <dgm:prSet presAssocID="{7E3575E1-3D65-45F6-A13C-0B7C8D42AACE}" presName="hierRoot2" presStyleCnt="0">
        <dgm:presLayoutVars>
          <dgm:hierBranch val="init"/>
        </dgm:presLayoutVars>
      </dgm:prSet>
      <dgm:spPr/>
    </dgm:pt>
    <dgm:pt modelId="{8A711F8F-4ED1-416F-96DE-49871FC3F708}" type="pres">
      <dgm:prSet presAssocID="{7E3575E1-3D65-45F6-A13C-0B7C8D42AACE}" presName="rootComposite" presStyleCnt="0"/>
      <dgm:spPr/>
    </dgm:pt>
    <dgm:pt modelId="{4FCEF338-B2C2-4936-863A-C1EB4EAC4341}" type="pres">
      <dgm:prSet presAssocID="{7E3575E1-3D65-45F6-A13C-0B7C8D42AACE}" presName="rootText" presStyleLbl="node3" presStyleIdx="2" presStyleCnt="5">
        <dgm:presLayoutVars>
          <dgm:chPref val="3"/>
        </dgm:presLayoutVars>
      </dgm:prSet>
      <dgm:spPr/>
    </dgm:pt>
    <dgm:pt modelId="{804F312E-46D6-46C6-85F2-BFF6E6B6CF83}" type="pres">
      <dgm:prSet presAssocID="{7E3575E1-3D65-45F6-A13C-0B7C8D42AACE}" presName="rootConnector" presStyleLbl="node3" presStyleIdx="2" presStyleCnt="5"/>
      <dgm:spPr/>
    </dgm:pt>
    <dgm:pt modelId="{EDF9F60D-3892-4FDB-9A92-699B103D135E}" type="pres">
      <dgm:prSet presAssocID="{7E3575E1-3D65-45F6-A13C-0B7C8D42AACE}" presName="hierChild4" presStyleCnt="0"/>
      <dgm:spPr/>
    </dgm:pt>
    <dgm:pt modelId="{9BA91D2F-937E-43E8-BD91-73A45AFB911E}" type="pres">
      <dgm:prSet presAssocID="{7E3575E1-3D65-45F6-A13C-0B7C8D42AACE}" presName="hierChild5" presStyleCnt="0"/>
      <dgm:spPr/>
    </dgm:pt>
    <dgm:pt modelId="{FF65572F-32EF-40B9-98CA-7D99E615A310}" type="pres">
      <dgm:prSet presAssocID="{726B1038-F895-48A0-A0B2-8FB92A4D4E29}" presName="Name37" presStyleLbl="parChTrans1D3" presStyleIdx="3" presStyleCnt="5"/>
      <dgm:spPr/>
    </dgm:pt>
    <dgm:pt modelId="{6E52C882-E5D1-4394-A9FD-BFC1C64E2787}" type="pres">
      <dgm:prSet presAssocID="{B9953076-97A4-48D1-BDB5-CAD0606609C4}" presName="hierRoot2" presStyleCnt="0">
        <dgm:presLayoutVars>
          <dgm:hierBranch val="init"/>
        </dgm:presLayoutVars>
      </dgm:prSet>
      <dgm:spPr/>
    </dgm:pt>
    <dgm:pt modelId="{0A0AA096-85E7-44D5-A93D-6DC465F966CB}" type="pres">
      <dgm:prSet presAssocID="{B9953076-97A4-48D1-BDB5-CAD0606609C4}" presName="rootComposite" presStyleCnt="0"/>
      <dgm:spPr/>
    </dgm:pt>
    <dgm:pt modelId="{784E381A-9E72-452A-B5C3-879F5230A0C3}" type="pres">
      <dgm:prSet presAssocID="{B9953076-97A4-48D1-BDB5-CAD0606609C4}" presName="rootText" presStyleLbl="node3" presStyleIdx="3" presStyleCnt="5">
        <dgm:presLayoutVars>
          <dgm:chPref val="3"/>
        </dgm:presLayoutVars>
      </dgm:prSet>
      <dgm:spPr/>
    </dgm:pt>
    <dgm:pt modelId="{8AFF5121-D90D-40A9-B53D-2D3F091B0FD7}" type="pres">
      <dgm:prSet presAssocID="{B9953076-97A4-48D1-BDB5-CAD0606609C4}" presName="rootConnector" presStyleLbl="node3" presStyleIdx="3" presStyleCnt="5"/>
      <dgm:spPr/>
    </dgm:pt>
    <dgm:pt modelId="{81697E0B-5948-4D8B-A7E1-4011C6AF89D4}" type="pres">
      <dgm:prSet presAssocID="{B9953076-97A4-48D1-BDB5-CAD0606609C4}" presName="hierChild4" presStyleCnt="0"/>
      <dgm:spPr/>
    </dgm:pt>
    <dgm:pt modelId="{B7623E81-6111-41FD-8A9D-8152D87F1E0D}" type="pres">
      <dgm:prSet presAssocID="{B9953076-97A4-48D1-BDB5-CAD0606609C4}" presName="hierChild5" presStyleCnt="0"/>
      <dgm:spPr/>
    </dgm:pt>
    <dgm:pt modelId="{F4777442-1204-4579-A6F7-26F562CE75FF}" type="pres">
      <dgm:prSet presAssocID="{E1FBF417-ABB4-41EE-9942-2BDE152CFE66}" presName="hierChild5" presStyleCnt="0"/>
      <dgm:spPr/>
    </dgm:pt>
    <dgm:pt modelId="{D43B7E64-C22A-45D9-B024-B7A9AED0C1C3}" type="pres">
      <dgm:prSet presAssocID="{C8329EA0-8C20-4CDD-A2B4-7AF562B07CFA}" presName="Name37" presStyleLbl="parChTrans1D2" presStyleIdx="2" presStyleCnt="3"/>
      <dgm:spPr/>
    </dgm:pt>
    <dgm:pt modelId="{79B5A7E9-3E09-4F5E-9611-8CFFB77DC1BF}" type="pres">
      <dgm:prSet presAssocID="{187F2EC7-E289-4750-8566-FA8A236F62D7}" presName="hierRoot2" presStyleCnt="0">
        <dgm:presLayoutVars>
          <dgm:hierBranch val="init"/>
        </dgm:presLayoutVars>
      </dgm:prSet>
      <dgm:spPr/>
    </dgm:pt>
    <dgm:pt modelId="{06C15E9F-0886-4BB4-9E92-B6A529196B85}" type="pres">
      <dgm:prSet presAssocID="{187F2EC7-E289-4750-8566-FA8A236F62D7}" presName="rootComposite" presStyleCnt="0"/>
      <dgm:spPr/>
    </dgm:pt>
    <dgm:pt modelId="{C4E8F6B8-A613-4C90-A3FB-F00BEA541724}" type="pres">
      <dgm:prSet presAssocID="{187F2EC7-E289-4750-8566-FA8A236F62D7}" presName="rootText" presStyleLbl="node2" presStyleIdx="2" presStyleCnt="3" custScaleY="106254">
        <dgm:presLayoutVars>
          <dgm:chPref val="3"/>
        </dgm:presLayoutVars>
      </dgm:prSet>
      <dgm:spPr/>
    </dgm:pt>
    <dgm:pt modelId="{D7947A34-3397-4698-9D17-424A6CF572B2}" type="pres">
      <dgm:prSet presAssocID="{187F2EC7-E289-4750-8566-FA8A236F62D7}" presName="rootConnector" presStyleLbl="node2" presStyleIdx="2" presStyleCnt="3"/>
      <dgm:spPr/>
    </dgm:pt>
    <dgm:pt modelId="{E11CEF87-F8E7-43CB-A07A-1698CF7D35F1}" type="pres">
      <dgm:prSet presAssocID="{187F2EC7-E289-4750-8566-FA8A236F62D7}" presName="hierChild4" presStyleCnt="0"/>
      <dgm:spPr/>
    </dgm:pt>
    <dgm:pt modelId="{E1692DE4-E824-41D9-8958-07D58E16DF94}" type="pres">
      <dgm:prSet presAssocID="{A6E7A8D8-8F6D-4CDC-A0B1-CA868E7E33EC}" presName="Name37" presStyleLbl="parChTrans1D3" presStyleIdx="4" presStyleCnt="5"/>
      <dgm:spPr/>
    </dgm:pt>
    <dgm:pt modelId="{3D414171-6ADE-4419-971F-01701B80569D}" type="pres">
      <dgm:prSet presAssocID="{4998C4FD-9A8D-4614-AC61-360A6DA5D9E8}" presName="hierRoot2" presStyleCnt="0">
        <dgm:presLayoutVars>
          <dgm:hierBranch val="init"/>
        </dgm:presLayoutVars>
      </dgm:prSet>
      <dgm:spPr/>
    </dgm:pt>
    <dgm:pt modelId="{615E73B2-0F7A-4E4B-93E4-EE9E8367EE79}" type="pres">
      <dgm:prSet presAssocID="{4998C4FD-9A8D-4614-AC61-360A6DA5D9E8}" presName="rootComposite" presStyleCnt="0"/>
      <dgm:spPr/>
    </dgm:pt>
    <dgm:pt modelId="{ACA18474-22F6-4498-A5B0-5C8342E63124}" type="pres">
      <dgm:prSet presAssocID="{4998C4FD-9A8D-4614-AC61-360A6DA5D9E8}" presName="rootText" presStyleLbl="node3" presStyleIdx="4" presStyleCnt="5">
        <dgm:presLayoutVars>
          <dgm:chPref val="3"/>
        </dgm:presLayoutVars>
      </dgm:prSet>
      <dgm:spPr/>
    </dgm:pt>
    <dgm:pt modelId="{7F18FC18-C041-4B5B-986A-1CEE0004ECB9}" type="pres">
      <dgm:prSet presAssocID="{4998C4FD-9A8D-4614-AC61-360A6DA5D9E8}" presName="rootConnector" presStyleLbl="node3" presStyleIdx="4" presStyleCnt="5"/>
      <dgm:spPr/>
    </dgm:pt>
    <dgm:pt modelId="{1620E908-8E78-4BFD-9A62-FD20045BB185}" type="pres">
      <dgm:prSet presAssocID="{4998C4FD-9A8D-4614-AC61-360A6DA5D9E8}" presName="hierChild4" presStyleCnt="0"/>
      <dgm:spPr/>
    </dgm:pt>
    <dgm:pt modelId="{F5CE793B-928E-4E03-89DB-04F5895D823A}" type="pres">
      <dgm:prSet presAssocID="{4998C4FD-9A8D-4614-AC61-360A6DA5D9E8}" presName="hierChild5" presStyleCnt="0"/>
      <dgm:spPr/>
    </dgm:pt>
    <dgm:pt modelId="{0F12B2A9-60B4-4940-B18B-0D92A331BB23}" type="pres">
      <dgm:prSet presAssocID="{187F2EC7-E289-4750-8566-FA8A236F62D7}" presName="hierChild5" presStyleCnt="0"/>
      <dgm:spPr/>
    </dgm:pt>
    <dgm:pt modelId="{48A87B06-2686-493B-9676-0E73EBA3CDFD}" type="pres">
      <dgm:prSet presAssocID="{C47881CE-CC45-4EE0-9C66-CD926C29C589}" presName="hierChild3" presStyleCnt="0"/>
      <dgm:spPr/>
    </dgm:pt>
  </dgm:ptLst>
  <dgm:cxnLst>
    <dgm:cxn modelId="{CA833407-F379-4FC6-9AD7-D3630D8D3479}" type="presOf" srcId="{E1FBF417-ABB4-41EE-9942-2BDE152CFE66}" destId="{FEC0462F-294F-41FF-A5B3-B6EF94164A27}" srcOrd="0" destOrd="0" presId="urn:microsoft.com/office/officeart/2005/8/layout/orgChart1"/>
    <dgm:cxn modelId="{0722990A-C5DE-4ED5-AD7D-2D996CB14F79}" type="presOf" srcId="{726B1038-F895-48A0-A0B2-8FB92A4D4E29}" destId="{FF65572F-32EF-40B9-98CA-7D99E615A310}" srcOrd="0" destOrd="0" presId="urn:microsoft.com/office/officeart/2005/8/layout/orgChart1"/>
    <dgm:cxn modelId="{403EE80D-D894-4B33-9779-EDADE8122980}" type="presOf" srcId="{C8329EA0-8C20-4CDD-A2B4-7AF562B07CFA}" destId="{D43B7E64-C22A-45D9-B024-B7A9AED0C1C3}" srcOrd="0" destOrd="0" presId="urn:microsoft.com/office/officeart/2005/8/layout/orgChart1"/>
    <dgm:cxn modelId="{A09A6311-EC06-47F4-AE04-8DB636D43732}" type="presOf" srcId="{64C329D8-C7C1-40FF-8B92-B9FAC0E126AB}" destId="{36E950AC-307C-49A6-87D3-1CBDE44C5DBF}" srcOrd="0" destOrd="0" presId="urn:microsoft.com/office/officeart/2005/8/layout/orgChart1"/>
    <dgm:cxn modelId="{0A33DD14-68D3-4AE4-B9F2-FADFD47CEFDB}" type="presOf" srcId="{187F2EC7-E289-4750-8566-FA8A236F62D7}" destId="{D7947A34-3397-4698-9D17-424A6CF572B2}" srcOrd="1" destOrd="0" presId="urn:microsoft.com/office/officeart/2005/8/layout/orgChart1"/>
    <dgm:cxn modelId="{D80E3A1A-3CA0-4429-AC63-071B3AE061BE}" type="presOf" srcId="{4998C4FD-9A8D-4614-AC61-360A6DA5D9E8}" destId="{7F18FC18-C041-4B5B-986A-1CEE0004ECB9}" srcOrd="1" destOrd="0" presId="urn:microsoft.com/office/officeart/2005/8/layout/orgChart1"/>
    <dgm:cxn modelId="{01E5391B-08D6-4FE8-A70F-AEA3E5D35AFD}" type="presOf" srcId="{4998C4FD-9A8D-4614-AC61-360A6DA5D9E8}" destId="{ACA18474-22F6-4498-A5B0-5C8342E63124}" srcOrd="0" destOrd="0" presId="urn:microsoft.com/office/officeart/2005/8/layout/orgChart1"/>
    <dgm:cxn modelId="{F3BC0523-E04A-4D43-BE6E-AF3ECA42F355}" type="presOf" srcId="{E1FBF417-ABB4-41EE-9942-2BDE152CFE66}" destId="{3568C25F-0522-4752-81DC-E084539560DA}" srcOrd="1" destOrd="0" presId="urn:microsoft.com/office/officeart/2005/8/layout/orgChart1"/>
    <dgm:cxn modelId="{1B29A830-5132-4BA0-AED0-78551EE03944}" srcId="{C47881CE-CC45-4EE0-9C66-CD926C29C589}" destId="{E1FBF417-ABB4-41EE-9942-2BDE152CFE66}" srcOrd="1" destOrd="0" parTransId="{1F8344B7-393F-448F-87E4-6894A67E60BF}" sibTransId="{B3478A3C-A7F8-4F49-B1E5-A937270ED6F6}"/>
    <dgm:cxn modelId="{38D74F3A-D63E-41F6-AA1B-62FD50A6B042}" type="presOf" srcId="{A1EBF984-258F-4179-9D5D-74BC93DE2D43}" destId="{E3F679D2-B6B7-4DD3-AE39-C90FE694DBB7}" srcOrd="0" destOrd="0" presId="urn:microsoft.com/office/officeart/2005/8/layout/orgChart1"/>
    <dgm:cxn modelId="{B7173E3B-703F-41BE-9024-0E2C0A2CE926}" type="presOf" srcId="{7E3575E1-3D65-45F6-A13C-0B7C8D42AACE}" destId="{804F312E-46D6-46C6-85F2-BFF6E6B6CF83}" srcOrd="1" destOrd="0" presId="urn:microsoft.com/office/officeart/2005/8/layout/orgChart1"/>
    <dgm:cxn modelId="{8CF08C3C-29EA-4F63-9CB8-05726B6D3745}" srcId="{187F2EC7-E289-4750-8566-FA8A236F62D7}" destId="{4998C4FD-9A8D-4614-AC61-360A6DA5D9E8}" srcOrd="0" destOrd="0" parTransId="{A6E7A8D8-8F6D-4CDC-A0B1-CA868E7E33EC}" sibTransId="{7EA6CAE2-919A-4503-9B06-3EBD3B7EFB1B}"/>
    <dgm:cxn modelId="{37BDF43D-439E-459C-B993-5063E7E1CF3D}" type="presOf" srcId="{187F2EC7-E289-4750-8566-FA8A236F62D7}" destId="{C4E8F6B8-A613-4C90-A3FB-F00BEA541724}" srcOrd="0" destOrd="0" presId="urn:microsoft.com/office/officeart/2005/8/layout/orgChart1"/>
    <dgm:cxn modelId="{7F9A475C-D20D-4426-85CF-F48B9BE2551D}" srcId="{E285C1E3-8A72-4245-A9C5-97609B4F065E}" destId="{C47881CE-CC45-4EE0-9C66-CD926C29C589}" srcOrd="0" destOrd="0" parTransId="{6EF90140-074B-4CC6-A11E-0A2207D6C814}" sibTransId="{588585D2-4277-493E-AE70-DD0FDB87E22A}"/>
    <dgm:cxn modelId="{6140785D-9AD6-495B-B67E-9061F172C240}" type="presOf" srcId="{6DE6AE15-5FC8-4E56-89C6-BB2E4AE6C0BF}" destId="{DBE3312E-9A64-47F7-8CA1-6A485A5627D5}" srcOrd="0" destOrd="0" presId="urn:microsoft.com/office/officeart/2005/8/layout/orgChart1"/>
    <dgm:cxn modelId="{3931444B-3C36-451D-912A-C355059D7859}" type="presOf" srcId="{9D1653C4-1BB4-4953-8F6F-A126D5BEB635}" destId="{E80FF95F-092E-4762-8A32-9F447AAE9E31}" srcOrd="0" destOrd="0" presId="urn:microsoft.com/office/officeart/2005/8/layout/orgChart1"/>
    <dgm:cxn modelId="{0CF0554F-8412-4678-80D2-37FAAF07415A}" type="presOf" srcId="{7E3575E1-3D65-45F6-A13C-0B7C8D42AACE}" destId="{4FCEF338-B2C2-4936-863A-C1EB4EAC4341}" srcOrd="0" destOrd="0" presId="urn:microsoft.com/office/officeart/2005/8/layout/orgChart1"/>
    <dgm:cxn modelId="{03E8347B-F1EF-476C-BBAD-31046844063D}" type="presOf" srcId="{C47881CE-CC45-4EE0-9C66-CD926C29C589}" destId="{98B5B899-E770-406C-9550-D26A3F5D0902}" srcOrd="1" destOrd="0" presId="urn:microsoft.com/office/officeart/2005/8/layout/orgChart1"/>
    <dgm:cxn modelId="{1FCDCF88-CF7F-4321-839C-9D367542A15D}" type="presOf" srcId="{A1EBF984-258F-4179-9D5D-74BC93DE2D43}" destId="{D6D65AD7-2544-47EE-A81E-DB1BF7AA76DF}" srcOrd="1" destOrd="0" presId="urn:microsoft.com/office/officeart/2005/8/layout/orgChart1"/>
    <dgm:cxn modelId="{FFB1DB99-2E4B-42E0-B5E0-2278B1F60A7B}" type="presOf" srcId="{A6E7A8D8-8F6D-4CDC-A0B1-CA868E7E33EC}" destId="{E1692DE4-E824-41D9-8958-07D58E16DF94}" srcOrd="0" destOrd="0" presId="urn:microsoft.com/office/officeart/2005/8/layout/orgChart1"/>
    <dgm:cxn modelId="{C6DEE39E-72D2-4B2F-A37C-8B2BA533FD9D}" type="presOf" srcId="{B9953076-97A4-48D1-BDB5-CAD0606609C4}" destId="{784E381A-9E72-452A-B5C3-879F5230A0C3}" srcOrd="0" destOrd="0" presId="urn:microsoft.com/office/officeart/2005/8/layout/orgChart1"/>
    <dgm:cxn modelId="{1EA91CA2-8B34-492A-88D8-01CA14DEBEF7}" type="presOf" srcId="{1F8344B7-393F-448F-87E4-6894A67E60BF}" destId="{56388E17-C062-4A25-86DF-0652A2EF0439}" srcOrd="0" destOrd="0" presId="urn:microsoft.com/office/officeart/2005/8/layout/orgChart1"/>
    <dgm:cxn modelId="{DF5F4FA7-88C6-4727-AE20-7E894F9AF590}" srcId="{E1FBF417-ABB4-41EE-9942-2BDE152CFE66}" destId="{7E3575E1-3D65-45F6-A13C-0B7C8D42AACE}" srcOrd="0" destOrd="0" parTransId="{9D1653C4-1BB4-4953-8F6F-A126D5BEB635}" sibTransId="{28FC5F05-5CE9-414D-AC63-97D3CBC43AEE}"/>
    <dgm:cxn modelId="{92633CAA-B77A-426C-995E-BDC3AF6A2247}" srcId="{DCF770A7-7DCD-448B-9058-9093509AFBE0}" destId="{4E337052-017A-4571-8F72-2F9166B6E532}" srcOrd="1" destOrd="0" parTransId="{6DE6AE15-5FC8-4E56-89C6-BB2E4AE6C0BF}" sibTransId="{E82FA755-723B-4970-A55A-D31DFD5DC572}"/>
    <dgm:cxn modelId="{58B668AA-D731-473A-9BDB-7013504FB1DB}" srcId="{DCF770A7-7DCD-448B-9058-9093509AFBE0}" destId="{A1EBF984-258F-4179-9D5D-74BC93DE2D43}" srcOrd="0" destOrd="0" parTransId="{64C329D8-C7C1-40FF-8B92-B9FAC0E126AB}" sibTransId="{E656A046-8FD4-4FBE-96F3-F898E8D245B2}"/>
    <dgm:cxn modelId="{96965AAB-2C5C-492F-AE92-BC625F3239CD}" type="presOf" srcId="{DCF770A7-7DCD-448B-9058-9093509AFBE0}" destId="{68AFF768-26C2-4FF3-8DDB-154F1FAB80F2}" srcOrd="1" destOrd="0" presId="urn:microsoft.com/office/officeart/2005/8/layout/orgChart1"/>
    <dgm:cxn modelId="{6C01AEC4-0E75-4897-9622-BF3D1730F0C9}" type="presOf" srcId="{E285C1E3-8A72-4245-A9C5-97609B4F065E}" destId="{2F4DCCE6-036A-47C1-9E74-87467B65BC23}" srcOrd="0" destOrd="0" presId="urn:microsoft.com/office/officeart/2005/8/layout/orgChart1"/>
    <dgm:cxn modelId="{ABD060C7-2BFC-4976-B4D0-098C1B803F12}" srcId="{E1FBF417-ABB4-41EE-9942-2BDE152CFE66}" destId="{B9953076-97A4-48D1-BDB5-CAD0606609C4}" srcOrd="1" destOrd="0" parTransId="{726B1038-F895-48A0-A0B2-8FB92A4D4E29}" sibTransId="{CCBB871C-8931-4EAC-A3EE-3228E0F01189}"/>
    <dgm:cxn modelId="{2028C3CD-17D5-4777-ABE4-B1EC572E717D}" type="presOf" srcId="{B9953076-97A4-48D1-BDB5-CAD0606609C4}" destId="{8AFF5121-D90D-40A9-B53D-2D3F091B0FD7}" srcOrd="1" destOrd="0" presId="urn:microsoft.com/office/officeart/2005/8/layout/orgChart1"/>
    <dgm:cxn modelId="{103E3ED0-0666-4039-A9E1-45E29AF49535}" srcId="{C47881CE-CC45-4EE0-9C66-CD926C29C589}" destId="{DCF770A7-7DCD-448B-9058-9093509AFBE0}" srcOrd="0" destOrd="0" parTransId="{7080E527-0B1A-45E7-B01B-EDC088CB159F}" sibTransId="{AA1C83BC-762E-4A57-8B8B-D6F597811AA1}"/>
    <dgm:cxn modelId="{9E3DB8D0-8D2B-434F-889B-26D9B7D09FB1}" srcId="{C47881CE-CC45-4EE0-9C66-CD926C29C589}" destId="{187F2EC7-E289-4750-8566-FA8A236F62D7}" srcOrd="2" destOrd="0" parTransId="{C8329EA0-8C20-4CDD-A2B4-7AF562B07CFA}" sibTransId="{0F8B9B8D-712B-4CC3-BCFD-CA6B1A137904}"/>
    <dgm:cxn modelId="{4B6ED6E2-6B76-4F34-BB91-D2E20F664B2E}" type="presOf" srcId="{4E337052-017A-4571-8F72-2F9166B6E532}" destId="{61516C1C-C451-4916-9F51-D26C63C77151}" srcOrd="1" destOrd="0" presId="urn:microsoft.com/office/officeart/2005/8/layout/orgChart1"/>
    <dgm:cxn modelId="{9D24BFE6-1D26-4C7E-B125-B0573725CE82}" type="presOf" srcId="{DCF770A7-7DCD-448B-9058-9093509AFBE0}" destId="{26C629AF-38DC-40C1-928F-5123B96509E5}" srcOrd="0" destOrd="0" presId="urn:microsoft.com/office/officeart/2005/8/layout/orgChart1"/>
    <dgm:cxn modelId="{2EF139E9-377B-4EFF-8603-568A2A211285}" type="presOf" srcId="{7080E527-0B1A-45E7-B01B-EDC088CB159F}" destId="{C4E0D1BD-6196-4066-BF5E-1492B203FB1C}" srcOrd="0" destOrd="0" presId="urn:microsoft.com/office/officeart/2005/8/layout/orgChart1"/>
    <dgm:cxn modelId="{709817EA-12D3-4386-AD8E-951CED0E4762}" type="presOf" srcId="{4E337052-017A-4571-8F72-2F9166B6E532}" destId="{D0EF95F5-A4C2-4B08-B8CC-039C9BF43E9C}" srcOrd="0" destOrd="0" presId="urn:microsoft.com/office/officeart/2005/8/layout/orgChart1"/>
    <dgm:cxn modelId="{3CAEA7FF-978F-4600-97B8-CBF305579EFF}" type="presOf" srcId="{C47881CE-CC45-4EE0-9C66-CD926C29C589}" destId="{565EEADA-CE3D-4163-80F4-CB70724EEA75}" srcOrd="0" destOrd="0" presId="urn:microsoft.com/office/officeart/2005/8/layout/orgChart1"/>
    <dgm:cxn modelId="{7D5CCA5C-5292-4B8C-8D5C-43E546DAFCB2}" type="presParOf" srcId="{2F4DCCE6-036A-47C1-9E74-87467B65BC23}" destId="{0A319DCF-BFE8-4748-8340-D7B84A0D395F}" srcOrd="0" destOrd="0" presId="urn:microsoft.com/office/officeart/2005/8/layout/orgChart1"/>
    <dgm:cxn modelId="{2846C377-2571-4961-A257-F2EAA151FFE6}" type="presParOf" srcId="{0A319DCF-BFE8-4748-8340-D7B84A0D395F}" destId="{2E20D26C-A9C2-4190-8908-7A10AEE24B05}" srcOrd="0" destOrd="0" presId="urn:microsoft.com/office/officeart/2005/8/layout/orgChart1"/>
    <dgm:cxn modelId="{F9B5CD7A-7455-46C6-A677-19BE37200129}" type="presParOf" srcId="{2E20D26C-A9C2-4190-8908-7A10AEE24B05}" destId="{565EEADA-CE3D-4163-80F4-CB70724EEA75}" srcOrd="0" destOrd="0" presId="urn:microsoft.com/office/officeart/2005/8/layout/orgChart1"/>
    <dgm:cxn modelId="{F2E25B03-C50A-41FD-98F4-FC048484B66B}" type="presParOf" srcId="{2E20D26C-A9C2-4190-8908-7A10AEE24B05}" destId="{98B5B899-E770-406C-9550-D26A3F5D0902}" srcOrd="1" destOrd="0" presId="urn:microsoft.com/office/officeart/2005/8/layout/orgChart1"/>
    <dgm:cxn modelId="{E6FB2EB3-B6C9-4BC0-982A-837C12FC6332}" type="presParOf" srcId="{0A319DCF-BFE8-4748-8340-D7B84A0D395F}" destId="{9F44393F-18A3-4102-9506-B33B865240EC}" srcOrd="1" destOrd="0" presId="urn:microsoft.com/office/officeart/2005/8/layout/orgChart1"/>
    <dgm:cxn modelId="{D302EFE0-3D61-4220-B249-A5A98F0021C0}" type="presParOf" srcId="{9F44393F-18A3-4102-9506-B33B865240EC}" destId="{C4E0D1BD-6196-4066-BF5E-1492B203FB1C}" srcOrd="0" destOrd="0" presId="urn:microsoft.com/office/officeart/2005/8/layout/orgChart1"/>
    <dgm:cxn modelId="{89E89815-C915-47E3-BB0C-E26BEE5C8BEB}" type="presParOf" srcId="{9F44393F-18A3-4102-9506-B33B865240EC}" destId="{CA9596B1-72D7-48A2-88EA-3107F4221DCC}" srcOrd="1" destOrd="0" presId="urn:microsoft.com/office/officeart/2005/8/layout/orgChart1"/>
    <dgm:cxn modelId="{344AA4D9-DC91-4B92-BDE7-C2E4246FA6FF}" type="presParOf" srcId="{CA9596B1-72D7-48A2-88EA-3107F4221DCC}" destId="{C581F4CF-40EA-45A5-8ED3-A2A777D0CC36}" srcOrd="0" destOrd="0" presId="urn:microsoft.com/office/officeart/2005/8/layout/orgChart1"/>
    <dgm:cxn modelId="{87FBF702-42DD-4AD0-AC96-1503A07EADB5}" type="presParOf" srcId="{C581F4CF-40EA-45A5-8ED3-A2A777D0CC36}" destId="{26C629AF-38DC-40C1-928F-5123B96509E5}" srcOrd="0" destOrd="0" presId="urn:microsoft.com/office/officeart/2005/8/layout/orgChart1"/>
    <dgm:cxn modelId="{29AB3C48-46B5-4B8F-B1DF-B73F57F5F508}" type="presParOf" srcId="{C581F4CF-40EA-45A5-8ED3-A2A777D0CC36}" destId="{68AFF768-26C2-4FF3-8DDB-154F1FAB80F2}" srcOrd="1" destOrd="0" presId="urn:microsoft.com/office/officeart/2005/8/layout/orgChart1"/>
    <dgm:cxn modelId="{8D64431C-AD97-4712-BF67-DA15EB4CBC76}" type="presParOf" srcId="{CA9596B1-72D7-48A2-88EA-3107F4221DCC}" destId="{6D1CC717-625A-41A5-A41B-F16E984EA9E2}" srcOrd="1" destOrd="0" presId="urn:microsoft.com/office/officeart/2005/8/layout/orgChart1"/>
    <dgm:cxn modelId="{660D4BD7-818C-4D8F-B96B-390CA4249D89}" type="presParOf" srcId="{6D1CC717-625A-41A5-A41B-F16E984EA9E2}" destId="{36E950AC-307C-49A6-87D3-1CBDE44C5DBF}" srcOrd="0" destOrd="0" presId="urn:microsoft.com/office/officeart/2005/8/layout/orgChart1"/>
    <dgm:cxn modelId="{3B29B13B-F50B-45F0-BCD4-C9704230EAF0}" type="presParOf" srcId="{6D1CC717-625A-41A5-A41B-F16E984EA9E2}" destId="{B2D4BD50-5A18-4BAF-B915-26B799BBC357}" srcOrd="1" destOrd="0" presId="urn:microsoft.com/office/officeart/2005/8/layout/orgChart1"/>
    <dgm:cxn modelId="{15E01353-A66E-47B4-82DC-FD9D77C65195}" type="presParOf" srcId="{B2D4BD50-5A18-4BAF-B915-26B799BBC357}" destId="{931BBD30-0BCD-40B9-AA63-C1573EBD72F1}" srcOrd="0" destOrd="0" presId="urn:microsoft.com/office/officeart/2005/8/layout/orgChart1"/>
    <dgm:cxn modelId="{6C84F14F-04A7-4EEC-8ECE-0BCF099D196C}" type="presParOf" srcId="{931BBD30-0BCD-40B9-AA63-C1573EBD72F1}" destId="{E3F679D2-B6B7-4DD3-AE39-C90FE694DBB7}" srcOrd="0" destOrd="0" presId="urn:microsoft.com/office/officeart/2005/8/layout/orgChart1"/>
    <dgm:cxn modelId="{AD7B626D-0A9D-491F-80F5-6FDF538F263E}" type="presParOf" srcId="{931BBD30-0BCD-40B9-AA63-C1573EBD72F1}" destId="{D6D65AD7-2544-47EE-A81E-DB1BF7AA76DF}" srcOrd="1" destOrd="0" presId="urn:microsoft.com/office/officeart/2005/8/layout/orgChart1"/>
    <dgm:cxn modelId="{B06C90BF-0812-4E42-A578-55661AC34AEB}" type="presParOf" srcId="{B2D4BD50-5A18-4BAF-B915-26B799BBC357}" destId="{D63B9CD2-0272-4B58-9AA7-38BBB2784BCB}" srcOrd="1" destOrd="0" presId="urn:microsoft.com/office/officeart/2005/8/layout/orgChart1"/>
    <dgm:cxn modelId="{03A2D3A2-D420-402A-AE1C-244523A9D0A4}" type="presParOf" srcId="{B2D4BD50-5A18-4BAF-B915-26B799BBC357}" destId="{D665A902-E190-4125-BC6D-3D5CCA467076}" srcOrd="2" destOrd="0" presId="urn:microsoft.com/office/officeart/2005/8/layout/orgChart1"/>
    <dgm:cxn modelId="{1DA16003-050A-401B-B7C3-47D63B7FA801}" type="presParOf" srcId="{6D1CC717-625A-41A5-A41B-F16E984EA9E2}" destId="{DBE3312E-9A64-47F7-8CA1-6A485A5627D5}" srcOrd="2" destOrd="0" presId="urn:microsoft.com/office/officeart/2005/8/layout/orgChart1"/>
    <dgm:cxn modelId="{DD9A2585-759C-44A0-9F72-BC950953F5AF}" type="presParOf" srcId="{6D1CC717-625A-41A5-A41B-F16E984EA9E2}" destId="{8B51B157-E9FD-463C-A083-67CDEC71BB05}" srcOrd="3" destOrd="0" presId="urn:microsoft.com/office/officeart/2005/8/layout/orgChart1"/>
    <dgm:cxn modelId="{0122D95F-7671-4DA0-96B9-28544EF1FA95}" type="presParOf" srcId="{8B51B157-E9FD-463C-A083-67CDEC71BB05}" destId="{40D2675A-606C-41DE-A7A2-DBD46B1CF881}" srcOrd="0" destOrd="0" presId="urn:microsoft.com/office/officeart/2005/8/layout/orgChart1"/>
    <dgm:cxn modelId="{C5DAEC14-D37A-4408-A48D-7765A1BCC411}" type="presParOf" srcId="{40D2675A-606C-41DE-A7A2-DBD46B1CF881}" destId="{D0EF95F5-A4C2-4B08-B8CC-039C9BF43E9C}" srcOrd="0" destOrd="0" presId="urn:microsoft.com/office/officeart/2005/8/layout/orgChart1"/>
    <dgm:cxn modelId="{8AAECCBD-4A04-41F1-86F0-D745DD4913EF}" type="presParOf" srcId="{40D2675A-606C-41DE-A7A2-DBD46B1CF881}" destId="{61516C1C-C451-4916-9F51-D26C63C77151}" srcOrd="1" destOrd="0" presId="urn:microsoft.com/office/officeart/2005/8/layout/orgChart1"/>
    <dgm:cxn modelId="{E6B5AB83-B2FD-4CAA-8D46-BE5455BA50B2}" type="presParOf" srcId="{8B51B157-E9FD-463C-A083-67CDEC71BB05}" destId="{F6C36022-40FC-42FC-AF53-1FBFA04D6DC9}" srcOrd="1" destOrd="0" presId="urn:microsoft.com/office/officeart/2005/8/layout/orgChart1"/>
    <dgm:cxn modelId="{E880AC12-0F48-417E-8D72-25421E9D4864}" type="presParOf" srcId="{8B51B157-E9FD-463C-A083-67CDEC71BB05}" destId="{1846F68C-A5B9-42F4-A0E0-8A064AA92388}" srcOrd="2" destOrd="0" presId="urn:microsoft.com/office/officeart/2005/8/layout/orgChart1"/>
    <dgm:cxn modelId="{9C9B9E79-782D-4B2C-B0C6-B475CCE00D27}" type="presParOf" srcId="{CA9596B1-72D7-48A2-88EA-3107F4221DCC}" destId="{AA1B3DB7-4793-419F-94BC-D949DAFFB6CB}" srcOrd="2" destOrd="0" presId="urn:microsoft.com/office/officeart/2005/8/layout/orgChart1"/>
    <dgm:cxn modelId="{4509439A-85C5-43B2-9615-C0AA2BC5C360}" type="presParOf" srcId="{9F44393F-18A3-4102-9506-B33B865240EC}" destId="{56388E17-C062-4A25-86DF-0652A2EF0439}" srcOrd="2" destOrd="0" presId="urn:microsoft.com/office/officeart/2005/8/layout/orgChart1"/>
    <dgm:cxn modelId="{924C8861-ADCA-41B2-9860-4F11E8491857}" type="presParOf" srcId="{9F44393F-18A3-4102-9506-B33B865240EC}" destId="{80F7B2E2-AB6C-4633-B7A2-3A619F519C7B}" srcOrd="3" destOrd="0" presId="urn:microsoft.com/office/officeart/2005/8/layout/orgChart1"/>
    <dgm:cxn modelId="{66E108E0-7705-43F1-AE8C-ED28C325D474}" type="presParOf" srcId="{80F7B2E2-AB6C-4633-B7A2-3A619F519C7B}" destId="{BD637762-C5A7-40F3-B463-1D53AF2D1CDF}" srcOrd="0" destOrd="0" presId="urn:microsoft.com/office/officeart/2005/8/layout/orgChart1"/>
    <dgm:cxn modelId="{3CF4F8AC-1481-4B78-91D2-2C9BA8D87D6D}" type="presParOf" srcId="{BD637762-C5A7-40F3-B463-1D53AF2D1CDF}" destId="{FEC0462F-294F-41FF-A5B3-B6EF94164A27}" srcOrd="0" destOrd="0" presId="urn:microsoft.com/office/officeart/2005/8/layout/orgChart1"/>
    <dgm:cxn modelId="{93201FC7-568A-40AA-91FA-DB39673F6E4A}" type="presParOf" srcId="{BD637762-C5A7-40F3-B463-1D53AF2D1CDF}" destId="{3568C25F-0522-4752-81DC-E084539560DA}" srcOrd="1" destOrd="0" presId="urn:microsoft.com/office/officeart/2005/8/layout/orgChart1"/>
    <dgm:cxn modelId="{756F33B6-6A76-434D-9AF2-67A49B55585A}" type="presParOf" srcId="{80F7B2E2-AB6C-4633-B7A2-3A619F519C7B}" destId="{69E20AB9-9E19-4EC4-883D-2FCF1B385CDE}" srcOrd="1" destOrd="0" presId="urn:microsoft.com/office/officeart/2005/8/layout/orgChart1"/>
    <dgm:cxn modelId="{72CC4838-B483-4C2D-9724-54EC6D4400B7}" type="presParOf" srcId="{69E20AB9-9E19-4EC4-883D-2FCF1B385CDE}" destId="{E80FF95F-092E-4762-8A32-9F447AAE9E31}" srcOrd="0" destOrd="0" presId="urn:microsoft.com/office/officeart/2005/8/layout/orgChart1"/>
    <dgm:cxn modelId="{B3CBC942-7B5A-454F-8851-7FABF7F6B100}" type="presParOf" srcId="{69E20AB9-9E19-4EC4-883D-2FCF1B385CDE}" destId="{3F5351DF-C1D2-4F38-ADC8-41A4CB824862}" srcOrd="1" destOrd="0" presId="urn:microsoft.com/office/officeart/2005/8/layout/orgChart1"/>
    <dgm:cxn modelId="{081BCEFC-C74F-4032-BFC3-AFA41E8D8704}" type="presParOf" srcId="{3F5351DF-C1D2-4F38-ADC8-41A4CB824862}" destId="{8A711F8F-4ED1-416F-96DE-49871FC3F708}" srcOrd="0" destOrd="0" presId="urn:microsoft.com/office/officeart/2005/8/layout/orgChart1"/>
    <dgm:cxn modelId="{4351B0AD-8C80-4162-B5A4-721D61DFA148}" type="presParOf" srcId="{8A711F8F-4ED1-416F-96DE-49871FC3F708}" destId="{4FCEF338-B2C2-4936-863A-C1EB4EAC4341}" srcOrd="0" destOrd="0" presId="urn:microsoft.com/office/officeart/2005/8/layout/orgChart1"/>
    <dgm:cxn modelId="{BD89B52B-769D-4EEA-B354-FAA7141EBC19}" type="presParOf" srcId="{8A711F8F-4ED1-416F-96DE-49871FC3F708}" destId="{804F312E-46D6-46C6-85F2-BFF6E6B6CF83}" srcOrd="1" destOrd="0" presId="urn:microsoft.com/office/officeart/2005/8/layout/orgChart1"/>
    <dgm:cxn modelId="{48B36475-A7C5-4AF1-9332-449AFE540C60}" type="presParOf" srcId="{3F5351DF-C1D2-4F38-ADC8-41A4CB824862}" destId="{EDF9F60D-3892-4FDB-9A92-699B103D135E}" srcOrd="1" destOrd="0" presId="urn:microsoft.com/office/officeart/2005/8/layout/orgChart1"/>
    <dgm:cxn modelId="{80A7B991-3ACA-4BA8-9C64-5482DDAF57FF}" type="presParOf" srcId="{3F5351DF-C1D2-4F38-ADC8-41A4CB824862}" destId="{9BA91D2F-937E-43E8-BD91-73A45AFB911E}" srcOrd="2" destOrd="0" presId="urn:microsoft.com/office/officeart/2005/8/layout/orgChart1"/>
    <dgm:cxn modelId="{031881B9-9C67-4B07-8ED7-31D75415B49E}" type="presParOf" srcId="{69E20AB9-9E19-4EC4-883D-2FCF1B385CDE}" destId="{FF65572F-32EF-40B9-98CA-7D99E615A310}" srcOrd="2" destOrd="0" presId="urn:microsoft.com/office/officeart/2005/8/layout/orgChart1"/>
    <dgm:cxn modelId="{46213381-B8E3-4D01-A197-9AB576100E48}" type="presParOf" srcId="{69E20AB9-9E19-4EC4-883D-2FCF1B385CDE}" destId="{6E52C882-E5D1-4394-A9FD-BFC1C64E2787}" srcOrd="3" destOrd="0" presId="urn:microsoft.com/office/officeart/2005/8/layout/orgChart1"/>
    <dgm:cxn modelId="{D5ECDE59-1D4A-41B6-A606-458EB1EB60D4}" type="presParOf" srcId="{6E52C882-E5D1-4394-A9FD-BFC1C64E2787}" destId="{0A0AA096-85E7-44D5-A93D-6DC465F966CB}" srcOrd="0" destOrd="0" presId="urn:microsoft.com/office/officeart/2005/8/layout/orgChart1"/>
    <dgm:cxn modelId="{8C5080BE-4510-4973-8635-67B12BD5F638}" type="presParOf" srcId="{0A0AA096-85E7-44D5-A93D-6DC465F966CB}" destId="{784E381A-9E72-452A-B5C3-879F5230A0C3}" srcOrd="0" destOrd="0" presId="urn:microsoft.com/office/officeart/2005/8/layout/orgChart1"/>
    <dgm:cxn modelId="{4F488F29-4715-4670-926B-B7D476CB4269}" type="presParOf" srcId="{0A0AA096-85E7-44D5-A93D-6DC465F966CB}" destId="{8AFF5121-D90D-40A9-B53D-2D3F091B0FD7}" srcOrd="1" destOrd="0" presId="urn:microsoft.com/office/officeart/2005/8/layout/orgChart1"/>
    <dgm:cxn modelId="{2062F3AE-FE8F-4014-A262-089218075179}" type="presParOf" srcId="{6E52C882-E5D1-4394-A9FD-BFC1C64E2787}" destId="{81697E0B-5948-4D8B-A7E1-4011C6AF89D4}" srcOrd="1" destOrd="0" presId="urn:microsoft.com/office/officeart/2005/8/layout/orgChart1"/>
    <dgm:cxn modelId="{25EDBA0F-BF5E-4E45-A5EF-F2D508519553}" type="presParOf" srcId="{6E52C882-E5D1-4394-A9FD-BFC1C64E2787}" destId="{B7623E81-6111-41FD-8A9D-8152D87F1E0D}" srcOrd="2" destOrd="0" presId="urn:microsoft.com/office/officeart/2005/8/layout/orgChart1"/>
    <dgm:cxn modelId="{22854FD8-5AA3-4DFB-A942-56BB60C7D6B2}" type="presParOf" srcId="{80F7B2E2-AB6C-4633-B7A2-3A619F519C7B}" destId="{F4777442-1204-4579-A6F7-26F562CE75FF}" srcOrd="2" destOrd="0" presId="urn:microsoft.com/office/officeart/2005/8/layout/orgChart1"/>
    <dgm:cxn modelId="{108C7C7B-9D7F-4C14-BC5C-D735C366420C}" type="presParOf" srcId="{9F44393F-18A3-4102-9506-B33B865240EC}" destId="{D43B7E64-C22A-45D9-B024-B7A9AED0C1C3}" srcOrd="4" destOrd="0" presId="urn:microsoft.com/office/officeart/2005/8/layout/orgChart1"/>
    <dgm:cxn modelId="{A81C6BB8-5899-4BF3-80CE-B8B6163CB91F}" type="presParOf" srcId="{9F44393F-18A3-4102-9506-B33B865240EC}" destId="{79B5A7E9-3E09-4F5E-9611-8CFFB77DC1BF}" srcOrd="5" destOrd="0" presId="urn:microsoft.com/office/officeart/2005/8/layout/orgChart1"/>
    <dgm:cxn modelId="{16A32438-3A91-4FE8-A93C-9F8752D69390}" type="presParOf" srcId="{79B5A7E9-3E09-4F5E-9611-8CFFB77DC1BF}" destId="{06C15E9F-0886-4BB4-9E92-B6A529196B85}" srcOrd="0" destOrd="0" presId="urn:microsoft.com/office/officeart/2005/8/layout/orgChart1"/>
    <dgm:cxn modelId="{4E796D45-7FF1-47A1-A1ED-7FB1D92981DC}" type="presParOf" srcId="{06C15E9F-0886-4BB4-9E92-B6A529196B85}" destId="{C4E8F6B8-A613-4C90-A3FB-F00BEA541724}" srcOrd="0" destOrd="0" presId="urn:microsoft.com/office/officeart/2005/8/layout/orgChart1"/>
    <dgm:cxn modelId="{E4C86B3F-BD9C-4C71-BD51-5527759E6DA2}" type="presParOf" srcId="{06C15E9F-0886-4BB4-9E92-B6A529196B85}" destId="{D7947A34-3397-4698-9D17-424A6CF572B2}" srcOrd="1" destOrd="0" presId="urn:microsoft.com/office/officeart/2005/8/layout/orgChart1"/>
    <dgm:cxn modelId="{B3E0468E-1160-4F5E-80A9-4EC4DFC1961C}" type="presParOf" srcId="{79B5A7E9-3E09-4F5E-9611-8CFFB77DC1BF}" destId="{E11CEF87-F8E7-43CB-A07A-1698CF7D35F1}" srcOrd="1" destOrd="0" presId="urn:microsoft.com/office/officeart/2005/8/layout/orgChart1"/>
    <dgm:cxn modelId="{3A2DCC35-F7BC-4C74-B914-C60A12C7136F}" type="presParOf" srcId="{E11CEF87-F8E7-43CB-A07A-1698CF7D35F1}" destId="{E1692DE4-E824-41D9-8958-07D58E16DF94}" srcOrd="0" destOrd="0" presId="urn:microsoft.com/office/officeart/2005/8/layout/orgChart1"/>
    <dgm:cxn modelId="{23B2437E-7C14-4E80-819B-8EEBDD76903C}" type="presParOf" srcId="{E11CEF87-F8E7-43CB-A07A-1698CF7D35F1}" destId="{3D414171-6ADE-4419-971F-01701B80569D}" srcOrd="1" destOrd="0" presId="urn:microsoft.com/office/officeart/2005/8/layout/orgChart1"/>
    <dgm:cxn modelId="{A574D0FA-02D3-4B73-A603-C946F65F7721}" type="presParOf" srcId="{3D414171-6ADE-4419-971F-01701B80569D}" destId="{615E73B2-0F7A-4E4B-93E4-EE9E8367EE79}" srcOrd="0" destOrd="0" presId="urn:microsoft.com/office/officeart/2005/8/layout/orgChart1"/>
    <dgm:cxn modelId="{C3BD6F8E-9A0A-4205-88EC-DDADCD85AE8A}" type="presParOf" srcId="{615E73B2-0F7A-4E4B-93E4-EE9E8367EE79}" destId="{ACA18474-22F6-4498-A5B0-5C8342E63124}" srcOrd="0" destOrd="0" presId="urn:microsoft.com/office/officeart/2005/8/layout/orgChart1"/>
    <dgm:cxn modelId="{72822BCE-2DB4-4431-8501-608FADD4D680}" type="presParOf" srcId="{615E73B2-0F7A-4E4B-93E4-EE9E8367EE79}" destId="{7F18FC18-C041-4B5B-986A-1CEE0004ECB9}" srcOrd="1" destOrd="0" presId="urn:microsoft.com/office/officeart/2005/8/layout/orgChart1"/>
    <dgm:cxn modelId="{53A42957-093A-451E-8679-EBD5E4A5A005}" type="presParOf" srcId="{3D414171-6ADE-4419-971F-01701B80569D}" destId="{1620E908-8E78-4BFD-9A62-FD20045BB185}" srcOrd="1" destOrd="0" presId="urn:microsoft.com/office/officeart/2005/8/layout/orgChart1"/>
    <dgm:cxn modelId="{4760D1C5-ED1E-45E6-86E8-9BD1CFC786ED}" type="presParOf" srcId="{3D414171-6ADE-4419-971F-01701B80569D}" destId="{F5CE793B-928E-4E03-89DB-04F5895D823A}" srcOrd="2" destOrd="0" presId="urn:microsoft.com/office/officeart/2005/8/layout/orgChart1"/>
    <dgm:cxn modelId="{381397B7-D17B-46F9-A27F-1A9F2D79161F}" type="presParOf" srcId="{79B5A7E9-3E09-4F5E-9611-8CFFB77DC1BF}" destId="{0F12B2A9-60B4-4940-B18B-0D92A331BB23}" srcOrd="2" destOrd="0" presId="urn:microsoft.com/office/officeart/2005/8/layout/orgChart1"/>
    <dgm:cxn modelId="{8B4425E7-1CA0-40C7-9EB0-0B291EF66834}" type="presParOf" srcId="{0A319DCF-BFE8-4748-8340-D7B84A0D395F}" destId="{48A87B06-2686-493B-9676-0E73EBA3CDFD}"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dgm:spPr/>
      <dgm:t>
        <a:bodyPr/>
        <a:lstStyle/>
        <a:p>
          <a:r>
            <a:rPr lang="en-US"/>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45347C14-70A1-4B49-AF96-590466B5578B}">
      <dgm:prSet/>
      <dgm:spPr/>
      <dgm:t>
        <a:bodyPr/>
        <a:lstStyle/>
        <a:p>
          <a:r>
            <a:rPr lang="en-US" dirty="0"/>
            <a:t>Extend the Employee information [CRUD based] and add persistence</a:t>
          </a:r>
        </a:p>
      </dgm:t>
    </dgm:pt>
    <dgm:pt modelId="{1C42D9BD-2E5B-4E76-9E40-66D5A1A29680}" type="parTrans" cxnId="{08226213-F0C7-47E0-BB82-2EF9327D8AFD}">
      <dgm:prSet/>
      <dgm:spPr/>
      <dgm:t>
        <a:bodyPr/>
        <a:lstStyle/>
        <a:p>
          <a:endParaRPr lang="en-US"/>
        </a:p>
      </dgm:t>
    </dgm:pt>
    <dgm:pt modelId="{C003C2EE-479C-4DBF-B7AC-B8D0A31A1B1A}" type="sibTrans" cxnId="{08226213-F0C7-47E0-BB82-2EF9327D8AFD}">
      <dgm:prSet/>
      <dgm:spPr/>
      <dgm:t>
        <a:bodyPr/>
        <a:lstStyle/>
        <a:p>
          <a:endParaRPr lang="en-US"/>
        </a:p>
      </dgm:t>
    </dgm:pt>
    <dgm:pt modelId="{FDDF2E94-E7BA-4635-8B5B-499241050D82}">
      <dgm:prSet/>
      <dgm:spPr/>
      <dgm:t>
        <a:bodyPr/>
        <a:lstStyle/>
        <a:p>
          <a:r>
            <a:rPr lang="en-US" dirty="0"/>
            <a:t>Add capability to search for a particular employee</a:t>
          </a:r>
        </a:p>
      </dgm:t>
    </dgm:pt>
    <dgm:pt modelId="{BF074528-6116-434B-A199-6515997D2632}" type="parTrans" cxnId="{8089B3F8-A031-42B2-8CC6-D6A80F8E21BB}">
      <dgm:prSet/>
      <dgm:spPr/>
      <dgm:t>
        <a:bodyPr/>
        <a:lstStyle/>
        <a:p>
          <a:endParaRPr lang="en-US"/>
        </a:p>
      </dgm:t>
    </dgm:pt>
    <dgm:pt modelId="{ADF0A805-54DD-49A0-AC5B-12306BF19606}" type="sibTrans" cxnId="{8089B3F8-A031-42B2-8CC6-D6A80F8E21BB}">
      <dgm:prSet/>
      <dgm:spPr/>
      <dgm:t>
        <a:bodyPr/>
        <a:lstStyle/>
        <a:p>
          <a:endParaRPr lang="en-US"/>
        </a:p>
      </dgm:t>
    </dgm:pt>
    <dgm:pt modelId="{F7CFB6EE-77B2-4658-9FB2-79777C42DB77}">
      <dgm:prSet/>
      <dgm:spPr/>
      <dgm:t>
        <a:bodyPr/>
        <a:lstStyle/>
        <a:p>
          <a:r>
            <a:rPr lang="en-US" dirty="0"/>
            <a:t>Enhance the Employee information application to maintain monthly pay slips for each employee</a:t>
          </a:r>
        </a:p>
      </dgm:t>
    </dgm:pt>
    <dgm:pt modelId="{C2BC60D5-7896-4B22-A8E8-581278C1D54F}" type="parTrans" cxnId="{CD0E76B9-7F6F-4FC8-B29B-AE9F86066744}">
      <dgm:prSet/>
      <dgm:spPr/>
      <dgm:t>
        <a:bodyPr/>
        <a:lstStyle/>
        <a:p>
          <a:endParaRPr lang="en-US"/>
        </a:p>
      </dgm:t>
    </dgm:pt>
    <dgm:pt modelId="{1B6C4542-8EF6-4461-9237-8A847765BD37}" type="sibTrans" cxnId="{CD0E76B9-7F6F-4FC8-B29B-AE9F86066744}">
      <dgm:prSet/>
      <dgm:spPr/>
      <dgm:t>
        <a:bodyPr/>
        <a:lstStyle/>
        <a:p>
          <a:endParaRPr lang="en-US"/>
        </a:p>
      </dgm:t>
    </dgm:pt>
    <dgm:pt modelId="{70614A76-5E03-4EEF-AA43-0C430B212BEC}">
      <dgm:prSet/>
      <dgm:spPr/>
      <dgm:t>
        <a:bodyPr/>
        <a:lstStyle/>
        <a:p>
          <a:r>
            <a:rPr lang="en-US" dirty="0"/>
            <a:t>Implement the Employee information application  to track all projects [assume employees to be working on multiple projects simultaneously]  each employee is working on</a:t>
          </a:r>
        </a:p>
      </dgm:t>
    </dgm:pt>
    <dgm:pt modelId="{1191B75F-5088-4D91-89C5-D9B8F950E4E0}" type="parTrans" cxnId="{A3C99273-143F-489F-8E12-BC028A6A19C3}">
      <dgm:prSet/>
      <dgm:spPr/>
      <dgm:t>
        <a:bodyPr/>
        <a:lstStyle/>
        <a:p>
          <a:endParaRPr lang="en-US"/>
        </a:p>
      </dgm:t>
    </dgm:pt>
    <dgm:pt modelId="{2F1D07AB-8D3E-4A5A-BF33-7EBFA9B25D5E}" type="sibTrans" cxnId="{A3C99273-143F-489F-8E12-BC028A6A19C3}">
      <dgm:prSet/>
      <dgm:spPr/>
      <dgm:t>
        <a:bodyPr/>
        <a:lstStyle/>
        <a:p>
          <a:endParaRPr lang="en-US"/>
        </a:p>
      </dgm:t>
    </dgm:pt>
    <dgm:pt modelId="{48897E8A-C312-42FA-B1DF-06FE7AEFE00D}">
      <dgm:prSet/>
      <dgm:spPr/>
      <dgm:t>
        <a:bodyPr/>
        <a:lstStyle/>
        <a:p>
          <a:r>
            <a:rPr lang="en-US" dirty="0"/>
            <a:t>Add capability to search for a all projects an employee is working on or list all employees working in a particular project</a:t>
          </a:r>
        </a:p>
      </dgm:t>
    </dgm:pt>
    <dgm:pt modelId="{59A2B71F-8BF9-4081-AB3E-34B37A48FE89}" type="parTrans" cxnId="{0D2092F3-226F-4181-A977-3C5A7406FE7A}">
      <dgm:prSet/>
      <dgm:spPr/>
      <dgm:t>
        <a:bodyPr/>
        <a:lstStyle/>
        <a:p>
          <a:endParaRPr lang="en-US"/>
        </a:p>
      </dgm:t>
    </dgm:pt>
    <dgm:pt modelId="{8DF571FA-177D-428B-BCFE-9B343AFDB8BB}" type="sibTrans" cxnId="{0D2092F3-226F-4181-A977-3C5A7406FE7A}">
      <dgm:prSet/>
      <dgm:spPr/>
      <dgm:t>
        <a:bodyPr/>
        <a:lstStyle/>
        <a:p>
          <a:endParaRPr lang="en-US"/>
        </a:p>
      </dgm:t>
    </dgm:pt>
    <dgm:pt modelId="{77BCB8AB-929A-4AC5-A946-4CE7065217EA}">
      <dgm:prSet/>
      <dgm:spPr/>
      <dgm:t>
        <a:bodyPr/>
        <a:lstStyle/>
        <a:p>
          <a:r>
            <a:rPr lang="en-US" dirty="0"/>
            <a:t>Convert the log messages to go into a file instead of the console.</a:t>
          </a:r>
        </a:p>
      </dgm:t>
    </dgm:pt>
    <dgm:pt modelId="{19F6C8DC-F4EE-4792-9185-04164BF555CF}" type="parTrans" cxnId="{EE69C8B1-C44F-4A11-B466-B724DC469FAD}">
      <dgm:prSet/>
      <dgm:spPr/>
      <dgm:t>
        <a:bodyPr/>
        <a:lstStyle/>
        <a:p>
          <a:endParaRPr lang="en-US"/>
        </a:p>
      </dgm:t>
    </dgm:pt>
    <dgm:pt modelId="{47DE4F6C-9E7E-4B32-BA57-C86C1378FE74}" type="sibTrans" cxnId="{EE69C8B1-C44F-4A11-B466-B724DC469FAD}">
      <dgm:prSet/>
      <dgm:spPr/>
      <dgm:t>
        <a:bodyPr/>
        <a:lstStyle/>
        <a:p>
          <a:endParaRPr lang="en-US"/>
        </a:p>
      </dgm:t>
    </dgm:pt>
    <dgm:pt modelId="{B17ADFC8-9C97-4788-A1B2-65D227BDBF5B}">
      <dgm:prSet/>
      <dgm:spPr/>
      <dgm:t>
        <a:bodyPr/>
        <a:lstStyle/>
        <a:p>
          <a:r>
            <a:rPr lang="en-US" dirty="0"/>
            <a:t>If the number of employees is too large to bring all records into memory for processing, how will manage the CRUD operation in this scenario?</a:t>
          </a:r>
        </a:p>
      </dgm:t>
    </dgm:pt>
    <dgm:pt modelId="{12EF85D9-CC61-4714-A1A9-61C5EF6EA8B6}" type="parTrans" cxnId="{1CCCCD76-0687-4333-9164-0B478B8A1B9D}">
      <dgm:prSet/>
      <dgm:spPr/>
      <dgm:t>
        <a:bodyPr/>
        <a:lstStyle/>
        <a:p>
          <a:endParaRPr lang="en-US"/>
        </a:p>
      </dgm:t>
    </dgm:pt>
    <dgm:pt modelId="{C279D7A9-2954-42B8-A48A-835ADF9D12CB}" type="sibTrans" cxnId="{1CCCCD76-0687-4333-9164-0B478B8A1B9D}">
      <dgm:prSet/>
      <dgm:spPr/>
      <dgm:t>
        <a:bodyPr/>
        <a:lstStyle/>
        <a:p>
          <a:endParaRPr lang="en-US"/>
        </a:p>
      </dgm:t>
    </dgm:pt>
    <dgm:pt modelId="{8322A42B-07BD-4DF0-A306-D40066CE7142}">
      <dgm:prSet/>
      <dgm:spPr/>
      <dgm:t>
        <a:bodyPr/>
        <a:lstStyle/>
        <a:p>
          <a:r>
            <a:rPr lang="en-US" dirty="0">
              <a:solidFill>
                <a:schemeClr val="bg2">
                  <a:lumMod val="10000"/>
                </a:schemeClr>
              </a:solidFill>
            </a:rPr>
            <a:t>Ensure for the above code, you are handling all situations (E.g. File is not available in the specified location, file is locked by another user etc.). Make sure that at each step you are logging the processing being done in the application</a:t>
          </a:r>
          <a:r>
            <a:rPr lang="en-US" dirty="0"/>
            <a:t>.</a:t>
          </a:r>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Y="-9013">
        <dgm:presLayoutVars>
          <dgm:chMax val="0"/>
          <dgm:bulletEnabled val="1"/>
        </dgm:presLayoutVars>
      </dgm:prSet>
      <dgm:spPr/>
    </dgm:pt>
  </dgm:ptLst>
  <dgm:cxnLst>
    <dgm:cxn modelId="{08226213-F0C7-47E0-BB82-2EF9327D8AFD}" srcId="{16D0C510-BD6B-4470-99EE-B63B0CE1051E}" destId="{45347C14-70A1-4B49-AF96-590466B5578B}" srcOrd="0" destOrd="0" parTransId="{1C42D9BD-2E5B-4E76-9E40-66D5A1A29680}" sibTransId="{C003C2EE-479C-4DBF-B7AC-B8D0A31A1B1A}"/>
    <dgm:cxn modelId="{34A5EA30-8F63-4E64-9489-163830DE3F71}" type="presOf" srcId="{16D0C510-BD6B-4470-99EE-B63B0CE1051E}" destId="{66D5E3B7-AD69-4025-80E9-3838DE75D781}" srcOrd="0" destOrd="0" presId="urn:microsoft.com/office/officeart/2005/8/layout/vList2"/>
    <dgm:cxn modelId="{7BDA0433-C971-45A2-8295-F47498759E75}" type="presOf" srcId="{B17ADFC8-9C97-4788-A1B2-65D227BDBF5B}" destId="{AA89B326-56FA-412B-A913-C6B0240A88D6}" srcOrd="0" destOrd="6" presId="urn:microsoft.com/office/officeart/2005/8/layout/vList2"/>
    <dgm:cxn modelId="{BE9F7D4E-7FB5-4ABB-9E50-A004BB4945AF}" srcId="{2BBB98CD-F07A-4D75-BA22-800A74F528A8}" destId="{16D0C510-BD6B-4470-99EE-B63B0CE1051E}" srcOrd="0" destOrd="0" parTransId="{ED152025-189D-4E3E-91D0-BAD13212638B}" sibTransId="{6EEFB336-AD28-446F-9DA7-96B6AE5B191F}"/>
    <dgm:cxn modelId="{A3C99273-143F-489F-8E12-BC028A6A19C3}" srcId="{16D0C510-BD6B-4470-99EE-B63B0CE1051E}" destId="{70614A76-5E03-4EEF-AA43-0C430B212BEC}" srcOrd="3" destOrd="0" parTransId="{1191B75F-5088-4D91-89C5-D9B8F950E4E0}" sibTransId="{2F1D07AB-8D3E-4A5A-BF33-7EBFA9B25D5E}"/>
    <dgm:cxn modelId="{1CCCCD76-0687-4333-9164-0B478B8A1B9D}" srcId="{16D0C510-BD6B-4470-99EE-B63B0CE1051E}" destId="{B17ADFC8-9C97-4788-A1B2-65D227BDBF5B}" srcOrd="6" destOrd="0" parTransId="{12EF85D9-CC61-4714-A1A9-61C5EF6EA8B6}" sibTransId="{C279D7A9-2954-42B8-A48A-835ADF9D12CB}"/>
    <dgm:cxn modelId="{B7D6EF76-829F-4AC2-AB80-C8370DF690D3}" type="presOf" srcId="{2BBB98CD-F07A-4D75-BA22-800A74F528A8}" destId="{0A4390B1-51C0-4D6A-8E63-2784AF505AD5}" srcOrd="0" destOrd="0" presId="urn:microsoft.com/office/officeart/2005/8/layout/vList2"/>
    <dgm:cxn modelId="{30CC2677-BF37-46AF-9630-ECBD188CEB86}" type="presOf" srcId="{FDDF2E94-E7BA-4635-8B5B-499241050D82}" destId="{AA89B326-56FA-412B-A913-C6B0240A88D6}" srcOrd="0" destOrd="1" presId="urn:microsoft.com/office/officeart/2005/8/layout/vList2"/>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C6F61C90-64F8-4F80-8861-EF5AA781421C}" type="presOf" srcId="{70614A76-5E03-4EEF-AA43-0C430B212BEC}" destId="{AA89B326-56FA-412B-A913-C6B0240A88D6}" srcOrd="0" destOrd="3" presId="urn:microsoft.com/office/officeart/2005/8/layout/vList2"/>
    <dgm:cxn modelId="{EE69C8B1-C44F-4A11-B466-B724DC469FAD}" srcId="{16D0C510-BD6B-4470-99EE-B63B0CE1051E}" destId="{77BCB8AB-929A-4AC5-A946-4CE7065217EA}" srcOrd="5" destOrd="0" parTransId="{19F6C8DC-F4EE-4792-9185-04164BF555CF}" sibTransId="{47DE4F6C-9E7E-4B32-BA57-C86C1378FE74}"/>
    <dgm:cxn modelId="{CD0E76B9-7F6F-4FC8-B29B-AE9F86066744}" srcId="{16D0C510-BD6B-4470-99EE-B63B0CE1051E}" destId="{F7CFB6EE-77B2-4658-9FB2-79777C42DB77}" srcOrd="2" destOrd="0" parTransId="{C2BC60D5-7896-4B22-A8E8-581278C1D54F}" sibTransId="{1B6C4542-8EF6-4461-9237-8A847765BD37}"/>
    <dgm:cxn modelId="{89B908DC-9EBD-4BE1-AEC6-C2C772A7CA1B}" type="presOf" srcId="{77BCB8AB-929A-4AC5-A946-4CE7065217EA}" destId="{AA89B326-56FA-412B-A913-C6B0240A88D6}" srcOrd="0" destOrd="5" presId="urn:microsoft.com/office/officeart/2005/8/layout/vList2"/>
    <dgm:cxn modelId="{1B3A2EE6-7F54-4A4B-ABA8-98605F6F5637}" type="presOf" srcId="{45347C14-70A1-4B49-AF96-590466B5578B}" destId="{AA89B326-56FA-412B-A913-C6B0240A88D6}" srcOrd="0" destOrd="0" presId="urn:microsoft.com/office/officeart/2005/8/layout/vList2"/>
    <dgm:cxn modelId="{0D2092F3-226F-4181-A977-3C5A7406FE7A}" srcId="{16D0C510-BD6B-4470-99EE-B63B0CE1051E}" destId="{48897E8A-C312-42FA-B1DF-06FE7AEFE00D}" srcOrd="4" destOrd="0" parTransId="{59A2B71F-8BF9-4081-AB3E-34B37A48FE89}" sibTransId="{8DF571FA-177D-428B-BCFE-9B343AFDB8BB}"/>
    <dgm:cxn modelId="{8089B3F8-A031-42B2-8CC6-D6A80F8E21BB}" srcId="{16D0C510-BD6B-4470-99EE-B63B0CE1051E}" destId="{FDDF2E94-E7BA-4635-8B5B-499241050D82}" srcOrd="1" destOrd="0" parTransId="{BF074528-6116-434B-A199-6515997D2632}" sibTransId="{ADF0A805-54DD-49A0-AC5B-12306BF19606}"/>
    <dgm:cxn modelId="{1195F4FA-985C-4088-8953-18AAB57D64DA}" type="presOf" srcId="{48897E8A-C312-42FA-B1DF-06FE7AEFE00D}" destId="{AA89B326-56FA-412B-A913-C6B0240A88D6}" srcOrd="0" destOrd="4" presId="urn:microsoft.com/office/officeart/2005/8/layout/vList2"/>
    <dgm:cxn modelId="{1290D7FF-0915-4AFA-A959-84C096D9B133}" type="presOf" srcId="{F7CFB6EE-77B2-4658-9FB2-79777C42DB77}" destId="{AA89B326-56FA-412B-A913-C6B0240A88D6}" srcOrd="0" destOrd="2" presId="urn:microsoft.com/office/officeart/2005/8/layout/vList2"/>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dgm:spPr/>
      <dgm:t>
        <a:bodyPr/>
        <a:lstStyle/>
        <a:p>
          <a:r>
            <a:rPr lang="en-US" dirty="0"/>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45347C14-70A1-4B49-AF96-590466B5578B}">
      <dgm:prSet/>
      <dgm:spPr/>
      <dgm:t>
        <a:bodyPr/>
        <a:lstStyle/>
        <a:p>
          <a:r>
            <a:rPr lang="en-US" dirty="0"/>
            <a:t>Add capability to search for a particular employee using a Hash table </a:t>
          </a:r>
        </a:p>
      </dgm:t>
    </dgm:pt>
    <dgm:pt modelId="{1C42D9BD-2E5B-4E76-9E40-66D5A1A29680}" type="parTrans" cxnId="{08226213-F0C7-47E0-BB82-2EF9327D8AFD}">
      <dgm:prSet/>
      <dgm:spPr/>
      <dgm:t>
        <a:bodyPr/>
        <a:lstStyle/>
        <a:p>
          <a:endParaRPr lang="en-US"/>
        </a:p>
      </dgm:t>
    </dgm:pt>
    <dgm:pt modelId="{C003C2EE-479C-4DBF-B7AC-B8D0A31A1B1A}" type="sibTrans" cxnId="{08226213-F0C7-47E0-BB82-2EF9327D8AFD}">
      <dgm:prSet/>
      <dgm:spPr/>
      <dgm:t>
        <a:bodyPr/>
        <a:lstStyle/>
        <a:p>
          <a:endParaRPr lang="en-US"/>
        </a:p>
      </dgm:t>
    </dgm:pt>
    <dgm:pt modelId="{8322A42B-07BD-4DF0-A306-D40066CE7142}">
      <dgm:prSet/>
      <dgm:spPr/>
      <dgm:t>
        <a:bodyPr/>
        <a:lstStyle/>
        <a:p>
          <a:r>
            <a:rPr lang="en-US" dirty="0">
              <a:solidFill>
                <a:schemeClr val="bg2">
                  <a:lumMod val="10000"/>
                </a:schemeClr>
              </a:solidFill>
            </a:rPr>
            <a:t>Ensure for the above code, you are handling all situations (E.g. Search element not in list of employees). Make sure that at each step you are logging the processing being done in the application</a:t>
          </a:r>
          <a:r>
            <a:rPr lang="en-US" dirty="0"/>
            <a:t>.</a:t>
          </a:r>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A77CEB8C-905A-4FD3-94C6-AB9056714BF3}">
      <dgm:prSet/>
      <dgm:spPr/>
      <dgm:t>
        <a:bodyPr/>
        <a:lstStyle/>
        <a:p>
          <a:r>
            <a:rPr lang="en-US" dirty="0">
              <a:hlinkClick xmlns:r="http://schemas.openxmlformats.org/officeDocument/2006/relationships" r:id="rId1"/>
            </a:rPr>
            <a:t>https://medium.freecodecamp.org/how-to-implement-a-simple-hash-table-in-javascript-cb3b9c1f2997</a:t>
          </a:r>
          <a:endParaRPr lang="en-US" dirty="0"/>
        </a:p>
      </dgm:t>
    </dgm:pt>
    <dgm:pt modelId="{49457C7F-BB76-4B0E-B15A-62156090692D}" type="parTrans" cxnId="{8ACC75A8-729A-4229-A3CA-975059B684EF}">
      <dgm:prSet/>
      <dgm:spPr/>
      <dgm:t>
        <a:bodyPr/>
        <a:lstStyle/>
        <a:p>
          <a:endParaRPr lang="en-US"/>
        </a:p>
      </dgm:t>
    </dgm:pt>
    <dgm:pt modelId="{4C28FEE7-4A5B-4316-B714-69865C311C40}" type="sibTrans" cxnId="{8ACC75A8-729A-4229-A3CA-975059B684EF}">
      <dgm:prSet/>
      <dgm:spPr/>
      <dgm:t>
        <a:bodyPr/>
        <a:lstStyle/>
        <a:p>
          <a:endParaRPr lang="en-US"/>
        </a:p>
      </dgm:t>
    </dgm:pt>
    <dgm:pt modelId="{69878EF2-D366-4BC6-B93E-4BADCB8B1056}">
      <dgm:prSet/>
      <dgm:spPr/>
      <dgm:t>
        <a:bodyPr/>
        <a:lstStyle/>
        <a:p>
          <a:r>
            <a:rPr lang="en-US" dirty="0"/>
            <a:t>Read the difference between Object, map, </a:t>
          </a:r>
          <a:r>
            <a:rPr lang="en-US" dirty="0" err="1"/>
            <a:t>HashMap</a:t>
          </a:r>
          <a:r>
            <a:rPr lang="en-US" dirty="0"/>
            <a:t> in JavaScript</a:t>
          </a:r>
        </a:p>
      </dgm:t>
    </dgm:pt>
    <dgm:pt modelId="{306040BB-1321-4EA0-9747-1B854A122076}" type="parTrans" cxnId="{A36DD90D-35DC-4C81-8CE7-6734A992FAD8}">
      <dgm:prSet/>
      <dgm:spPr/>
      <dgm:t>
        <a:bodyPr/>
        <a:lstStyle/>
        <a:p>
          <a:endParaRPr lang="en-US"/>
        </a:p>
      </dgm:t>
    </dgm:pt>
    <dgm:pt modelId="{322B0F52-76DF-4D94-8661-79C4BAA6F3A5}" type="sibTrans" cxnId="{A36DD90D-35DC-4C81-8CE7-6734A992FAD8}">
      <dgm:prSet/>
      <dgm:spPr/>
      <dgm:t>
        <a:bodyPr/>
        <a:lstStyle/>
        <a:p>
          <a:endParaRPr lang="en-US"/>
        </a:p>
      </dgm:t>
    </dgm:pt>
    <dgm:pt modelId="{614C2B21-6EE7-47AC-A7DC-CA92C82E48B3}">
      <dgm:prSet/>
      <dgm:spPr/>
      <dgm:t>
        <a:bodyPr/>
        <a:lstStyle/>
        <a:p>
          <a:r>
            <a:rPr lang="en-US" dirty="0"/>
            <a:t>Use a random access file to store employee information</a:t>
          </a:r>
        </a:p>
      </dgm:t>
    </dgm:pt>
    <dgm:pt modelId="{3B509D61-89CA-43E5-B629-5CEBF4068DAE}" type="parTrans" cxnId="{EF4A8F7C-5474-4165-940B-CC9E0C0424AB}">
      <dgm:prSet/>
      <dgm:spPr/>
      <dgm:t>
        <a:bodyPr/>
        <a:lstStyle/>
        <a:p>
          <a:endParaRPr lang="en-US"/>
        </a:p>
      </dgm:t>
    </dgm:pt>
    <dgm:pt modelId="{DF0E740C-814C-477B-940E-5A72FDA13921}" type="sibTrans" cxnId="{EF4A8F7C-5474-4165-940B-CC9E0C0424AB}">
      <dgm:prSet/>
      <dgm:spPr/>
      <dgm:t>
        <a:bodyPr/>
        <a:lstStyle/>
        <a:p>
          <a:endParaRPr lang="en-US"/>
        </a:p>
      </dgm:t>
    </dgm:pt>
    <dgm:pt modelId="{F1CACFC0-765D-4E8A-89C1-F60E974BAB35}">
      <dgm:prSet/>
      <dgm:spPr/>
      <dgm:t>
        <a:bodyPr/>
        <a:lstStyle/>
        <a:p>
          <a:r>
            <a:rPr lang="en-US" dirty="0"/>
            <a:t>Add capability to search for a particular employee in the random access file using a simple index using an in=memory Hash table</a:t>
          </a:r>
        </a:p>
      </dgm:t>
    </dgm:pt>
    <dgm:pt modelId="{DE204EA9-4793-4917-AD9C-0CBFDF9C0BC3}" type="parTrans" cxnId="{FC0D21D1-E72F-40D1-8F34-C47596C3B937}">
      <dgm:prSet/>
      <dgm:spPr/>
      <dgm:t>
        <a:bodyPr/>
        <a:lstStyle/>
        <a:p>
          <a:endParaRPr lang="en-US"/>
        </a:p>
      </dgm:t>
    </dgm:pt>
    <dgm:pt modelId="{0FC132D4-FF8E-4CF2-AA9D-2DBB96EEF782}" type="sibTrans" cxnId="{FC0D21D1-E72F-40D1-8F34-C47596C3B937}">
      <dgm:prSet/>
      <dgm:spPr/>
      <dgm:t>
        <a:bodyPr/>
        <a:lstStyle/>
        <a:p>
          <a:endParaRPr lang="en-US"/>
        </a:p>
      </dgm:t>
    </dgm:pt>
    <dgm:pt modelId="{F7E66D88-C567-4656-A5B1-26A35F48CFB8}">
      <dgm:prSet/>
      <dgm:spPr/>
      <dgm:t>
        <a:bodyPr/>
        <a:lstStyle/>
        <a:p>
          <a:r>
            <a:rPr lang="en-US" dirty="0"/>
            <a:t>Read the differences between different database indexing mechanisms</a:t>
          </a:r>
        </a:p>
      </dgm:t>
    </dgm:pt>
    <dgm:pt modelId="{F3F91622-299A-4B67-8C5D-EC249DCC4D46}" type="parTrans" cxnId="{F22D106C-0339-420F-A8D8-C4A8E7F7DBC0}">
      <dgm:prSet/>
      <dgm:spPr/>
      <dgm:t>
        <a:bodyPr/>
        <a:lstStyle/>
        <a:p>
          <a:endParaRPr lang="en-US"/>
        </a:p>
      </dgm:t>
    </dgm:pt>
    <dgm:pt modelId="{553F0878-4CD3-49EE-9E28-AB3F1314B1E6}" type="sibTrans" cxnId="{F22D106C-0339-420F-A8D8-C4A8E7F7DBC0}">
      <dgm:prSet/>
      <dgm:spPr/>
      <dgm:t>
        <a:bodyPr/>
        <a:lstStyle/>
        <a:p>
          <a:endParaRPr lang="en-US"/>
        </a:p>
      </dgm:t>
    </dgm:pt>
    <dgm:pt modelId="{7008115E-104C-4F70-954A-3A0582E87A65}">
      <dgm:prSet/>
      <dgm:spPr/>
      <dgm:t>
        <a:bodyPr/>
        <a:lstStyle/>
        <a:p>
          <a:r>
            <a:rPr lang="en-US" dirty="0">
              <a:hlinkClick xmlns:r="http://schemas.openxmlformats.org/officeDocument/2006/relationships" r:id="rId2"/>
            </a:rPr>
            <a:t>https://en.wikipedia.org/wiki/Database_index</a:t>
          </a:r>
          <a:endParaRPr lang="en-US" dirty="0"/>
        </a:p>
      </dgm:t>
    </dgm:pt>
    <dgm:pt modelId="{27BD5A19-33D8-4FD2-B05E-60060C6865A6}" type="parTrans" cxnId="{6928FCD9-F2F2-41E6-B68B-06353E1D895A}">
      <dgm:prSet/>
      <dgm:spPr/>
      <dgm:t>
        <a:bodyPr/>
        <a:lstStyle/>
        <a:p>
          <a:endParaRPr lang="en-US"/>
        </a:p>
      </dgm:t>
    </dgm:pt>
    <dgm:pt modelId="{08DEBB8A-D9E5-4181-9C16-0CD6E6FED710}" type="sibTrans" cxnId="{6928FCD9-F2F2-41E6-B68B-06353E1D895A}">
      <dgm:prSet/>
      <dgm:spPr/>
      <dgm:t>
        <a:bodyPr/>
        <a:lstStyle/>
        <a:p>
          <a:endParaRPr lang="en-US"/>
        </a:p>
      </dgm:t>
    </dgm:pt>
    <dgm:pt modelId="{327DC9FC-61B8-4BE1-817C-2CF7813B0C35}">
      <dgm:prSet/>
      <dgm:spPr/>
      <dgm:t>
        <a:bodyPr/>
        <a:lstStyle/>
        <a:p>
          <a:r>
            <a:rPr lang="en-US" dirty="0"/>
            <a:t>Implement Merge Sort and binary search for the employee records</a:t>
          </a:r>
        </a:p>
      </dgm:t>
    </dgm:pt>
    <dgm:pt modelId="{DC450707-11F8-44E1-9B6A-246D4E7DAAD5}" type="parTrans" cxnId="{D119E903-08FD-413D-8F0D-BFE70C41C4B5}">
      <dgm:prSet/>
      <dgm:spPr/>
      <dgm:t>
        <a:bodyPr/>
        <a:lstStyle/>
        <a:p>
          <a:endParaRPr lang="en-US"/>
        </a:p>
      </dgm:t>
    </dgm:pt>
    <dgm:pt modelId="{641ACBC0-4525-4712-9718-8C1B38A01289}" type="sibTrans" cxnId="{D119E903-08FD-413D-8F0D-BFE70C41C4B5}">
      <dgm:prSet/>
      <dgm:spPr/>
      <dgm:t>
        <a:bodyPr/>
        <a:lstStyle/>
        <a:p>
          <a:endParaRPr lang="en-US"/>
        </a:p>
      </dgm:t>
    </dgm:pt>
    <dgm:pt modelId="{4D220868-B1E0-4A8F-8376-F7A14C04D802}">
      <dgm:prSet/>
      <dgm:spPr/>
      <dgm:t>
        <a:bodyPr/>
        <a:lstStyle/>
        <a:p>
          <a:endParaRPr lang="en-US" dirty="0"/>
        </a:p>
      </dgm:t>
    </dgm:pt>
    <dgm:pt modelId="{05CB6BDA-3AC2-4918-8C98-7BCB628329C6}" type="parTrans" cxnId="{504AF59B-FBDF-44DC-B16F-6621D3E289C6}">
      <dgm:prSet/>
      <dgm:spPr/>
      <dgm:t>
        <a:bodyPr/>
        <a:lstStyle/>
        <a:p>
          <a:endParaRPr lang="en-US"/>
        </a:p>
      </dgm:t>
    </dgm:pt>
    <dgm:pt modelId="{0F9D23F3-BB22-4A4A-B5D5-21EE5E1FE2AD}" type="sibTrans" cxnId="{504AF59B-FBDF-44DC-B16F-6621D3E289C6}">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ScaleY="12923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Y="-9013">
        <dgm:presLayoutVars>
          <dgm:chMax val="0"/>
          <dgm:bulletEnabled val="1"/>
        </dgm:presLayoutVars>
      </dgm:prSet>
      <dgm:spPr/>
    </dgm:pt>
  </dgm:ptLst>
  <dgm:cxnLst>
    <dgm:cxn modelId="{D119E903-08FD-413D-8F0D-BFE70C41C4B5}" srcId="{16D0C510-BD6B-4470-99EE-B63B0CE1051E}" destId="{327DC9FC-61B8-4BE1-817C-2CF7813B0C35}" srcOrd="5" destOrd="0" parTransId="{DC450707-11F8-44E1-9B6A-246D4E7DAAD5}" sibTransId="{641ACBC0-4525-4712-9718-8C1B38A01289}"/>
    <dgm:cxn modelId="{A36DD90D-35DC-4C81-8CE7-6734A992FAD8}" srcId="{45347C14-70A1-4B49-AF96-590466B5578B}" destId="{69878EF2-D366-4BC6-B93E-4BADCB8B1056}" srcOrd="1" destOrd="0" parTransId="{306040BB-1321-4EA0-9747-1B854A122076}" sibTransId="{322B0F52-76DF-4D94-8661-79C4BAA6F3A5}"/>
    <dgm:cxn modelId="{08226213-F0C7-47E0-BB82-2EF9327D8AFD}" srcId="{16D0C510-BD6B-4470-99EE-B63B0CE1051E}" destId="{45347C14-70A1-4B49-AF96-590466B5578B}" srcOrd="1" destOrd="0" parTransId="{1C42D9BD-2E5B-4E76-9E40-66D5A1A29680}" sibTransId="{C003C2EE-479C-4DBF-B7AC-B8D0A31A1B1A}"/>
    <dgm:cxn modelId="{34A5EA30-8F63-4E64-9489-163830DE3F71}" type="presOf" srcId="{16D0C510-BD6B-4470-99EE-B63B0CE1051E}" destId="{66D5E3B7-AD69-4025-80E9-3838DE75D781}" srcOrd="0" destOrd="0" presId="urn:microsoft.com/office/officeart/2005/8/layout/vList2"/>
    <dgm:cxn modelId="{F22D106C-0339-420F-A8D8-C4A8E7F7DBC0}" srcId="{16D0C510-BD6B-4470-99EE-B63B0CE1051E}" destId="{F7E66D88-C567-4656-A5B1-26A35F48CFB8}" srcOrd="4" destOrd="0" parTransId="{F3F91622-299A-4B67-8C5D-EC249DCC4D46}" sibTransId="{553F0878-4CD3-49EE-9E28-AB3F1314B1E6}"/>
    <dgm:cxn modelId="{8B6AAC4D-B5B9-496F-9E46-C84436F43C44}" type="presOf" srcId="{A77CEB8C-905A-4FD3-94C6-AB9056714BF3}" destId="{AA89B326-56FA-412B-A913-C6B0240A88D6}" srcOrd="0" destOrd="2" presId="urn:microsoft.com/office/officeart/2005/8/layout/vList2"/>
    <dgm:cxn modelId="{BE9F7D4E-7FB5-4ABB-9E50-A004BB4945AF}" srcId="{2BBB98CD-F07A-4D75-BA22-800A74F528A8}" destId="{16D0C510-BD6B-4470-99EE-B63B0CE1051E}" srcOrd="0" destOrd="0" parTransId="{ED152025-189D-4E3E-91D0-BAD13212638B}" sibTransId="{6EEFB336-AD28-446F-9DA7-96B6AE5B191F}"/>
    <dgm:cxn modelId="{B7D6EF76-829F-4AC2-AB80-C8370DF690D3}" type="presOf" srcId="{2BBB98CD-F07A-4D75-BA22-800A74F528A8}" destId="{0A4390B1-51C0-4D6A-8E63-2784AF505AD5}" srcOrd="0" destOrd="0" presId="urn:microsoft.com/office/officeart/2005/8/layout/vList2"/>
    <dgm:cxn modelId="{EF4A8F7C-5474-4165-940B-CC9E0C0424AB}" srcId="{16D0C510-BD6B-4470-99EE-B63B0CE1051E}" destId="{614C2B21-6EE7-47AC-A7DC-CA92C82E48B3}" srcOrd="2" destOrd="0" parTransId="{3B509D61-89CA-43E5-B629-5CEBF4068DAE}" sibTransId="{DF0E740C-814C-477B-940E-5A72FDA13921}"/>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3B894D8A-6030-4D96-A5A3-DA10E1C35FE3}" type="presOf" srcId="{69878EF2-D366-4BC6-B93E-4BADCB8B1056}" destId="{AA89B326-56FA-412B-A913-C6B0240A88D6}" srcOrd="0" destOrd="3" presId="urn:microsoft.com/office/officeart/2005/8/layout/vList2"/>
    <dgm:cxn modelId="{504AF59B-FBDF-44DC-B16F-6621D3E289C6}" srcId="{16D0C510-BD6B-4470-99EE-B63B0CE1051E}" destId="{4D220868-B1E0-4A8F-8376-F7A14C04D802}" srcOrd="0" destOrd="0" parTransId="{05CB6BDA-3AC2-4918-8C98-7BCB628329C6}" sibTransId="{0F9D23F3-BB22-4A4A-B5D5-21EE5E1FE2AD}"/>
    <dgm:cxn modelId="{8ACC75A8-729A-4229-A3CA-975059B684EF}" srcId="{45347C14-70A1-4B49-AF96-590466B5578B}" destId="{A77CEB8C-905A-4FD3-94C6-AB9056714BF3}" srcOrd="0" destOrd="0" parTransId="{49457C7F-BB76-4B0E-B15A-62156090692D}" sibTransId="{4C28FEE7-4A5B-4316-B714-69865C311C40}"/>
    <dgm:cxn modelId="{9944EFAD-12EF-4041-8498-9C56F51D1455}" type="presOf" srcId="{F7E66D88-C567-4656-A5B1-26A35F48CFB8}" destId="{AA89B326-56FA-412B-A913-C6B0240A88D6}" srcOrd="0" destOrd="6" presId="urn:microsoft.com/office/officeart/2005/8/layout/vList2"/>
    <dgm:cxn modelId="{068F39B2-69BE-4988-8D56-2CE0B60FE8F8}" type="presOf" srcId="{614C2B21-6EE7-47AC-A7DC-CA92C82E48B3}" destId="{AA89B326-56FA-412B-A913-C6B0240A88D6}" srcOrd="0" destOrd="4" presId="urn:microsoft.com/office/officeart/2005/8/layout/vList2"/>
    <dgm:cxn modelId="{D99E80CB-9434-4783-80BF-EEA8EC313ED9}" type="presOf" srcId="{F1CACFC0-765D-4E8A-89C1-F60E974BAB35}" destId="{AA89B326-56FA-412B-A913-C6B0240A88D6}" srcOrd="0" destOrd="5" presId="urn:microsoft.com/office/officeart/2005/8/layout/vList2"/>
    <dgm:cxn modelId="{FC0D21D1-E72F-40D1-8F34-C47596C3B937}" srcId="{16D0C510-BD6B-4470-99EE-B63B0CE1051E}" destId="{F1CACFC0-765D-4E8A-89C1-F60E974BAB35}" srcOrd="3" destOrd="0" parTransId="{DE204EA9-4793-4917-AD9C-0CBFDF9C0BC3}" sibTransId="{0FC132D4-FF8E-4CF2-AA9D-2DBB96EEF782}"/>
    <dgm:cxn modelId="{6928FCD9-F2F2-41E6-B68B-06353E1D895A}" srcId="{F7E66D88-C567-4656-A5B1-26A35F48CFB8}" destId="{7008115E-104C-4F70-954A-3A0582E87A65}" srcOrd="0" destOrd="0" parTransId="{27BD5A19-33D8-4FD2-B05E-60060C6865A6}" sibTransId="{08DEBB8A-D9E5-4181-9C16-0CD6E6FED710}"/>
    <dgm:cxn modelId="{84B114DA-A999-4D65-9B2A-5C04012A23AA}" type="presOf" srcId="{4D220868-B1E0-4A8F-8376-F7A14C04D802}" destId="{AA89B326-56FA-412B-A913-C6B0240A88D6}" srcOrd="0" destOrd="0" presId="urn:microsoft.com/office/officeart/2005/8/layout/vList2"/>
    <dgm:cxn modelId="{A30D5CDC-23A3-482C-A072-DA65C3247DC3}" type="presOf" srcId="{7008115E-104C-4F70-954A-3A0582E87A65}" destId="{AA89B326-56FA-412B-A913-C6B0240A88D6}" srcOrd="0" destOrd="7" presId="urn:microsoft.com/office/officeart/2005/8/layout/vList2"/>
    <dgm:cxn modelId="{1B3A2EE6-7F54-4A4B-ABA8-98605F6F5637}" type="presOf" srcId="{45347C14-70A1-4B49-AF96-590466B5578B}" destId="{AA89B326-56FA-412B-A913-C6B0240A88D6}" srcOrd="0" destOrd="1" presId="urn:microsoft.com/office/officeart/2005/8/layout/vList2"/>
    <dgm:cxn modelId="{93545AEF-B833-4118-81EE-0ABC8C13B162}" type="presOf" srcId="{327DC9FC-61B8-4BE1-817C-2CF7813B0C35}" destId="{AA89B326-56FA-412B-A913-C6B0240A88D6}" srcOrd="0" destOrd="8" presId="urn:microsoft.com/office/officeart/2005/8/layout/vList2"/>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custT="1"/>
      <dgm:spPr/>
      <dgm:t>
        <a:bodyPr/>
        <a:lstStyle/>
        <a:p>
          <a:r>
            <a:rPr lang="en-US" sz="1400" b="1" dirty="0"/>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45347C14-70A1-4B49-AF96-590466B5578B}">
      <dgm:prSet custT="1"/>
      <dgm:spPr/>
      <dgm:t>
        <a:bodyPr/>
        <a:lstStyle/>
        <a:p>
          <a:r>
            <a:rPr lang="en-US" sz="1200" dirty="0"/>
            <a:t>Write unit test for the capability to search for a particular employee using a Hash table.  Make sure the code coverage is 90% or above.</a:t>
          </a:r>
        </a:p>
      </dgm:t>
    </dgm:pt>
    <dgm:pt modelId="{1C42D9BD-2E5B-4E76-9E40-66D5A1A29680}" type="parTrans" cxnId="{08226213-F0C7-47E0-BB82-2EF9327D8AFD}">
      <dgm:prSet/>
      <dgm:spPr/>
      <dgm:t>
        <a:bodyPr/>
        <a:lstStyle/>
        <a:p>
          <a:endParaRPr lang="en-US"/>
        </a:p>
      </dgm:t>
    </dgm:pt>
    <dgm:pt modelId="{C003C2EE-479C-4DBF-B7AC-B8D0A31A1B1A}" type="sibTrans" cxnId="{08226213-F0C7-47E0-BB82-2EF9327D8AFD}">
      <dgm:prSet/>
      <dgm:spPr/>
      <dgm:t>
        <a:bodyPr/>
        <a:lstStyle/>
        <a:p>
          <a:endParaRPr lang="en-US"/>
        </a:p>
      </dgm:t>
    </dgm:pt>
    <dgm:pt modelId="{8322A42B-07BD-4DF0-A306-D40066CE7142}">
      <dgm:prSet custT="1"/>
      <dgm:spPr/>
      <dgm:t>
        <a:bodyPr/>
        <a:lstStyle/>
        <a:p>
          <a:r>
            <a:rPr lang="en-US" sz="1400" b="1" dirty="0">
              <a:hlinkClick xmlns:r="http://schemas.openxmlformats.org/officeDocument/2006/relationships" r:id="rId1"/>
            </a:rPr>
            <a:t>Some  free books on NodeJS https://devfreebooks.github.io/nodejs/</a:t>
          </a:r>
          <a:endParaRPr lang="en-US" sz="1400" b="1" dirty="0"/>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F1CACFC0-765D-4E8A-89C1-F60E974BAB35}">
      <dgm:prSet custT="1"/>
      <dgm:spPr/>
      <dgm:t>
        <a:bodyPr/>
        <a:lstStyle/>
        <a:p>
          <a:r>
            <a:rPr lang="en-US" sz="1200" dirty="0"/>
            <a:t> Write unit test for the capability to search for a particular employee in the random access file using a simple index using an in-memory Hash table.  Make sure the code coverage is 90% or above</a:t>
          </a:r>
        </a:p>
      </dgm:t>
    </dgm:pt>
    <dgm:pt modelId="{DE204EA9-4793-4917-AD9C-0CBFDF9C0BC3}" type="parTrans" cxnId="{FC0D21D1-E72F-40D1-8F34-C47596C3B937}">
      <dgm:prSet/>
      <dgm:spPr/>
      <dgm:t>
        <a:bodyPr/>
        <a:lstStyle/>
        <a:p>
          <a:endParaRPr lang="en-US"/>
        </a:p>
      </dgm:t>
    </dgm:pt>
    <dgm:pt modelId="{0FC132D4-FF8E-4CF2-AA9D-2DBB96EEF782}" type="sibTrans" cxnId="{FC0D21D1-E72F-40D1-8F34-C47596C3B937}">
      <dgm:prSet/>
      <dgm:spPr/>
      <dgm:t>
        <a:bodyPr/>
        <a:lstStyle/>
        <a:p>
          <a:endParaRPr lang="en-US"/>
        </a:p>
      </dgm:t>
    </dgm:pt>
    <dgm:pt modelId="{2FFE42D9-5A61-49F2-A062-527443A6212E}">
      <dgm:prSet custT="1"/>
      <dgm:spPr/>
      <dgm:t>
        <a:bodyPr/>
        <a:lstStyle/>
        <a:p>
          <a:r>
            <a:rPr lang="en-US" sz="1200" dirty="0"/>
            <a:t>Unit test the operations in the Calculator module</a:t>
          </a:r>
        </a:p>
      </dgm:t>
    </dgm:pt>
    <dgm:pt modelId="{BA761DF0-A52C-489E-8900-87B813B6B41A}" type="parTrans" cxnId="{9B94AB4A-C1C6-40BA-B7B4-D89F2A3DE367}">
      <dgm:prSet/>
      <dgm:spPr/>
      <dgm:t>
        <a:bodyPr/>
        <a:lstStyle/>
        <a:p>
          <a:endParaRPr lang="en-US"/>
        </a:p>
      </dgm:t>
    </dgm:pt>
    <dgm:pt modelId="{B74C7D84-8441-4762-B00B-29E9D76D8687}" type="sibTrans" cxnId="{9B94AB4A-C1C6-40BA-B7B4-D89F2A3DE367}">
      <dgm:prSet/>
      <dgm:spPr/>
      <dgm:t>
        <a:bodyPr/>
        <a:lstStyle/>
        <a:p>
          <a:endParaRPr lang="en-US"/>
        </a:p>
      </dgm:t>
    </dgm:pt>
    <dgm:pt modelId="{BFBFE0B4-5B07-4B42-9DC0-6690F24D89BB}">
      <dgm:prSet custT="1"/>
      <dgm:spPr/>
      <dgm:t>
        <a:bodyPr/>
        <a:lstStyle/>
        <a:p>
          <a:r>
            <a:rPr lang="en-US" sz="1200" dirty="0"/>
            <a:t>  Jest Framework - </a:t>
          </a:r>
          <a:r>
            <a:rPr lang="en-US" sz="1200" dirty="0">
              <a:hlinkClick xmlns:r="http://schemas.openxmlformats.org/officeDocument/2006/relationships" r:id="rId2"/>
            </a:rPr>
            <a:t>https://jestjs.io/docs/en/getting-started.html</a:t>
          </a:r>
          <a:endParaRPr lang="en-US" sz="1200" dirty="0"/>
        </a:p>
      </dgm:t>
    </dgm:pt>
    <dgm:pt modelId="{4881ADF7-C866-4758-88DA-749B9B6510CF}" type="parTrans" cxnId="{F9A5ADDC-6835-47A9-A9EE-9A8A4E199CA0}">
      <dgm:prSet/>
      <dgm:spPr/>
      <dgm:t>
        <a:bodyPr/>
        <a:lstStyle/>
        <a:p>
          <a:endParaRPr lang="en-US"/>
        </a:p>
      </dgm:t>
    </dgm:pt>
    <dgm:pt modelId="{3C5B794D-56AA-42B6-8E66-5BFDA2858DEA}" type="sibTrans" cxnId="{F9A5ADDC-6835-47A9-A9EE-9A8A4E199CA0}">
      <dgm:prSet/>
      <dgm:spPr/>
      <dgm:t>
        <a:bodyPr/>
        <a:lstStyle/>
        <a:p>
          <a:endParaRPr lang="en-US"/>
        </a:p>
      </dgm:t>
    </dgm:pt>
    <dgm:pt modelId="{B208BFFA-6F81-4F52-A3A1-35BCAD6EB15C}">
      <dgm:prSet custT="1"/>
      <dgm:spPr/>
      <dgm:t>
        <a:bodyPr/>
        <a:lstStyle/>
        <a:p>
          <a:r>
            <a:rPr lang="en-US" sz="1200" dirty="0"/>
            <a:t> How to use Jest - </a:t>
          </a:r>
          <a:r>
            <a:rPr lang="en-US" sz="1200" dirty="0">
              <a:hlinkClick xmlns:r="http://schemas.openxmlformats.org/officeDocument/2006/relationships" r:id="rId3"/>
            </a:rPr>
            <a:t>https://www.xoriant.com/blog/product-engineering/jest-fast-furious-unit-testing-framework.html </a:t>
          </a:r>
          <a:r>
            <a:rPr lang="en-US" sz="1200" dirty="0"/>
            <a:t> </a:t>
          </a:r>
        </a:p>
      </dgm:t>
    </dgm:pt>
    <dgm:pt modelId="{8ACA0743-1BF2-4E3E-B973-222C90B74957}" type="parTrans" cxnId="{F971FCE8-FE2D-4099-BE5A-722D6B7F9934}">
      <dgm:prSet/>
      <dgm:spPr/>
      <dgm:t>
        <a:bodyPr/>
        <a:lstStyle/>
        <a:p>
          <a:endParaRPr lang="en-US"/>
        </a:p>
      </dgm:t>
    </dgm:pt>
    <dgm:pt modelId="{2D866C54-1B7F-433E-8AFE-04A43626D6E1}" type="sibTrans" cxnId="{F971FCE8-FE2D-4099-BE5A-722D6B7F9934}">
      <dgm:prSet/>
      <dgm:spPr/>
      <dgm:t>
        <a:bodyPr/>
        <a:lstStyle/>
        <a:p>
          <a:endParaRPr lang="en-US"/>
        </a:p>
      </dgm:t>
    </dgm:pt>
    <dgm:pt modelId="{8F3D6314-B963-44AA-9741-93E23A37E3BB}">
      <dgm:prSet custT="1"/>
      <dgm:spPr/>
      <dgm:t>
        <a:bodyPr/>
        <a:lstStyle/>
        <a:p>
          <a:r>
            <a:rPr lang="en-US" sz="1200" dirty="0"/>
            <a:t> Modify the above example by mocking the search service</a:t>
          </a:r>
        </a:p>
      </dgm:t>
    </dgm:pt>
    <dgm:pt modelId="{F9378726-290E-4C73-86B6-55AD01900104}" type="parTrans" cxnId="{0690684C-B828-48E1-9903-6F1AB291948D}">
      <dgm:prSet/>
      <dgm:spPr/>
      <dgm:t>
        <a:bodyPr/>
        <a:lstStyle/>
        <a:p>
          <a:endParaRPr lang="en-US"/>
        </a:p>
      </dgm:t>
    </dgm:pt>
    <dgm:pt modelId="{EE750BD7-C635-40C5-9CB5-BC5642DB4DD3}" type="sibTrans" cxnId="{0690684C-B828-48E1-9903-6F1AB291948D}">
      <dgm:prSet/>
      <dgm:spPr/>
      <dgm:t>
        <a:bodyPr/>
        <a:lstStyle/>
        <a:p>
          <a:endParaRPr lang="en-US"/>
        </a:p>
      </dgm:t>
    </dgm:pt>
    <dgm:pt modelId="{C1054332-A819-4C31-8D26-023E3EBF6D23}">
      <dgm:prSet custT="1"/>
      <dgm:spPr/>
      <dgm:t>
        <a:bodyPr/>
        <a:lstStyle/>
        <a:p>
          <a:r>
            <a:rPr lang="en-US" sz="1200" dirty="0"/>
            <a:t>Use NodeJS to write a simple calculator module for addition, subtraction, multiplication and division of two numbers</a:t>
          </a:r>
        </a:p>
      </dgm:t>
    </dgm:pt>
    <dgm:pt modelId="{47061AF0-0766-46E6-9A42-FA010FE94089}" type="parTrans" cxnId="{9888D65A-31FD-46B0-A552-07A8055C994E}">
      <dgm:prSet/>
      <dgm:spPr/>
      <dgm:t>
        <a:bodyPr/>
        <a:lstStyle/>
        <a:p>
          <a:endParaRPr lang="en-US"/>
        </a:p>
      </dgm:t>
    </dgm:pt>
    <dgm:pt modelId="{2359F29D-18E6-4D4E-85CE-64F0A897D7D4}" type="sibTrans" cxnId="{9888D65A-31FD-46B0-A552-07A8055C994E}">
      <dgm:prSet/>
      <dgm:spPr/>
      <dgm:t>
        <a:bodyPr/>
        <a:lstStyle/>
        <a:p>
          <a:endParaRPr lang="en-US"/>
        </a:p>
      </dgm:t>
    </dgm:pt>
    <dgm:pt modelId="{0F14801E-6803-4248-A0E9-EEB26F169E0A}">
      <dgm:prSet custT="1"/>
      <dgm:spPr/>
      <dgm:t>
        <a:bodyPr/>
        <a:lstStyle/>
        <a:p>
          <a:r>
            <a:rPr lang="en-US" sz="1200" dirty="0"/>
            <a:t>Use Jest framework for unit testing</a:t>
          </a:r>
        </a:p>
      </dgm:t>
    </dgm:pt>
    <dgm:pt modelId="{F59468EB-A955-46E4-AFC2-011F3F2ECB8F}" type="parTrans" cxnId="{9A5E4A78-E805-49F4-9672-C04FEAC46275}">
      <dgm:prSet/>
      <dgm:spPr/>
      <dgm:t>
        <a:bodyPr/>
        <a:lstStyle/>
        <a:p>
          <a:endParaRPr lang="en-US"/>
        </a:p>
      </dgm:t>
    </dgm:pt>
    <dgm:pt modelId="{4F73689F-3394-4C83-B6EF-994F3F6D1200}" type="sibTrans" cxnId="{9A5E4A78-E805-49F4-9672-C04FEAC46275}">
      <dgm:prSet/>
      <dgm:spPr/>
      <dgm:t>
        <a:bodyPr/>
        <a:lstStyle/>
        <a:p>
          <a:endParaRPr lang="en-US"/>
        </a:p>
      </dgm:t>
    </dgm:pt>
    <dgm:pt modelId="{81BDE5FB-2735-4B9D-8B6E-A492312CFB44}">
      <dgm:prSet custT="1"/>
      <dgm:spPr/>
      <dgm:t>
        <a:bodyPr/>
        <a:lstStyle/>
        <a:p>
          <a:r>
            <a:rPr lang="en-US" sz="1200" dirty="0"/>
            <a:t>Install Node and </a:t>
          </a:r>
          <a:r>
            <a:rPr lang="en-US" sz="1200" dirty="0" err="1"/>
            <a:t>npm</a:t>
          </a:r>
          <a:r>
            <a:rPr lang="en-US" sz="1200" dirty="0"/>
            <a:t> - </a:t>
          </a:r>
          <a:r>
            <a:rPr lang="en-US" sz="1200" dirty="0">
              <a:hlinkClick xmlns:r="http://schemas.openxmlformats.org/officeDocument/2006/relationships" r:id="rId4"/>
            </a:rPr>
            <a:t>https://blog.teamtreehouse.com/install-node-js-npm-windows</a:t>
          </a:r>
          <a:endParaRPr lang="en-US" sz="1200" dirty="0"/>
        </a:p>
      </dgm:t>
    </dgm:pt>
    <dgm:pt modelId="{63F70892-EFB0-4ABE-AE10-BB22F8CF734B}" type="parTrans" cxnId="{937C7F5E-C9A6-4B92-9836-ED6D4186BE58}">
      <dgm:prSet/>
      <dgm:spPr/>
      <dgm:t>
        <a:bodyPr/>
        <a:lstStyle/>
        <a:p>
          <a:endParaRPr lang="en-US"/>
        </a:p>
      </dgm:t>
    </dgm:pt>
    <dgm:pt modelId="{69073241-F27F-4D5D-AAFC-229F50A02F00}" type="sibTrans" cxnId="{937C7F5E-C9A6-4B92-9836-ED6D4186BE58}">
      <dgm:prSet/>
      <dgm:spPr/>
      <dgm:t>
        <a:bodyPr/>
        <a:lstStyle/>
        <a:p>
          <a:endParaRPr lang="en-US"/>
        </a:p>
      </dgm:t>
    </dgm:pt>
    <dgm:pt modelId="{A0411FCF-CEC7-499F-BB2D-78E51B0C9F80}">
      <dgm:prSet custT="1"/>
      <dgm:spPr/>
      <dgm:t>
        <a:bodyPr/>
        <a:lstStyle/>
        <a:p>
          <a:r>
            <a:rPr lang="en-US" sz="1200" dirty="0">
              <a:hlinkClick xmlns:r="http://schemas.openxmlformats.org/officeDocument/2006/relationships" r:id="rId5"/>
            </a:rPr>
            <a:t>https://www.youtube.com/watch?v=TlB_eWDSMt4</a:t>
          </a:r>
          <a:endParaRPr lang="en-US" sz="1200" dirty="0"/>
        </a:p>
      </dgm:t>
    </dgm:pt>
    <dgm:pt modelId="{A599A49C-8A27-41E6-8709-B0E1D2B525BB}" type="parTrans" cxnId="{38689C54-16C9-4F0C-80A4-7D17D982A9BA}">
      <dgm:prSet/>
      <dgm:spPr/>
      <dgm:t>
        <a:bodyPr/>
        <a:lstStyle/>
        <a:p>
          <a:endParaRPr lang="en-US"/>
        </a:p>
      </dgm:t>
    </dgm:pt>
    <dgm:pt modelId="{98BCE879-C5B7-41FA-B3BE-34C0E5975230}" type="sibTrans" cxnId="{38689C54-16C9-4F0C-80A4-7D17D982A9BA}">
      <dgm:prSet/>
      <dgm:spPr/>
      <dgm:t>
        <a:bodyPr/>
        <a:lstStyle/>
        <a:p>
          <a:endParaRPr lang="en-US"/>
        </a:p>
      </dgm:t>
    </dgm:pt>
    <dgm:pt modelId="{63671DDB-575D-4C79-8390-1B98144978D0}">
      <dgm:prSet custT="1"/>
      <dgm:spPr/>
      <dgm:t>
        <a:bodyPr/>
        <a:lstStyle/>
        <a:p>
          <a:r>
            <a:rPr lang="en-US" sz="1200" dirty="0"/>
            <a:t>Pluralsight and LinkedIn have courses on NodeJS and NPM</a:t>
          </a:r>
        </a:p>
      </dgm:t>
    </dgm:pt>
    <dgm:pt modelId="{A7F5BAC9-F143-45E6-91E9-DB109E576A16}" type="parTrans" cxnId="{45C2FCBD-FC46-422B-B163-B30A73B4E14B}">
      <dgm:prSet/>
      <dgm:spPr/>
      <dgm:t>
        <a:bodyPr/>
        <a:lstStyle/>
        <a:p>
          <a:endParaRPr lang="en-US"/>
        </a:p>
      </dgm:t>
    </dgm:pt>
    <dgm:pt modelId="{9C5E207B-0766-492C-BDB3-2902170A4386}" type="sibTrans" cxnId="{45C2FCBD-FC46-422B-B163-B30A73B4E14B}">
      <dgm:prSet/>
      <dgm:spPr/>
      <dgm:t>
        <a:bodyPr/>
        <a:lstStyle/>
        <a:p>
          <a:endParaRPr lang="en-US"/>
        </a:p>
      </dgm:t>
    </dgm:pt>
    <dgm:pt modelId="{C253C273-0272-4126-9694-F2061056344C}">
      <dgm:prSet custT="1"/>
      <dgm:spPr/>
      <dgm:t>
        <a:bodyPr/>
        <a:lstStyle/>
        <a:p>
          <a:endParaRPr lang="en-US" sz="1200" dirty="0"/>
        </a:p>
      </dgm:t>
    </dgm:pt>
    <dgm:pt modelId="{1C898B96-0A68-45BD-9935-F1C8DAEE2BF1}" type="parTrans" cxnId="{2FA2AAB0-8150-48C5-A07B-533D8BE97CE2}">
      <dgm:prSet/>
      <dgm:spPr/>
      <dgm:t>
        <a:bodyPr/>
        <a:lstStyle/>
        <a:p>
          <a:endParaRPr lang="en-US"/>
        </a:p>
      </dgm:t>
    </dgm:pt>
    <dgm:pt modelId="{2FE63FA2-197C-4530-AFB7-6B2727E5E990}" type="sibTrans" cxnId="{2FA2AAB0-8150-48C5-A07B-533D8BE97CE2}">
      <dgm:prSet/>
      <dgm:spPr/>
      <dgm:t>
        <a:bodyPr/>
        <a:lstStyle/>
        <a:p>
          <a:endParaRPr lang="en-US"/>
        </a:p>
      </dgm:t>
    </dgm:pt>
    <dgm:pt modelId="{4F20D241-E89E-402D-9AAC-4DF7AE5890CE}">
      <dgm:prSet custT="1"/>
      <dgm:spPr/>
      <dgm:t>
        <a:bodyPr/>
        <a:lstStyle/>
        <a:p>
          <a:r>
            <a:rPr lang="en-US" sz="1200" dirty="0"/>
            <a:t>Simplify the employee code you have written into modules (each module focuses on one functionality e.g. File operations)</a:t>
          </a:r>
        </a:p>
      </dgm:t>
    </dgm:pt>
    <dgm:pt modelId="{B09595D4-E2AB-4B7B-9719-F9850C687507}" type="parTrans" cxnId="{9256BA03-0958-4266-85D9-CC1AD75E987D}">
      <dgm:prSet/>
      <dgm:spPr/>
      <dgm:t>
        <a:bodyPr/>
        <a:lstStyle/>
        <a:p>
          <a:endParaRPr lang="en-US"/>
        </a:p>
      </dgm:t>
    </dgm:pt>
    <dgm:pt modelId="{E4639663-34AB-4ECB-8259-99152FD232B8}" type="sibTrans" cxnId="{9256BA03-0958-4266-85D9-CC1AD75E987D}">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ScaleY="12923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Y="-9013">
        <dgm:presLayoutVars>
          <dgm:chMax val="0"/>
          <dgm:bulletEnabled val="1"/>
        </dgm:presLayoutVars>
      </dgm:prSet>
      <dgm:spPr/>
    </dgm:pt>
  </dgm:ptLst>
  <dgm:cxnLst>
    <dgm:cxn modelId="{9256BA03-0958-4266-85D9-CC1AD75E987D}" srcId="{16D0C510-BD6B-4470-99EE-B63B0CE1051E}" destId="{4F20D241-E89E-402D-9AAC-4DF7AE5890CE}" srcOrd="5" destOrd="0" parTransId="{B09595D4-E2AB-4B7B-9719-F9850C687507}" sibTransId="{E4639663-34AB-4ECB-8259-99152FD232B8}"/>
    <dgm:cxn modelId="{FF135C08-C2D4-423D-A461-9CBD1DD80FE5}" type="presOf" srcId="{BFBFE0B4-5B07-4B42-9DC0-6690F24D89BB}" destId="{AA89B326-56FA-412B-A913-C6B0240A88D6}" srcOrd="0" destOrd="7" presId="urn:microsoft.com/office/officeart/2005/8/layout/vList2"/>
    <dgm:cxn modelId="{08226213-F0C7-47E0-BB82-2EF9327D8AFD}" srcId="{16D0C510-BD6B-4470-99EE-B63B0CE1051E}" destId="{45347C14-70A1-4B49-AF96-590466B5578B}" srcOrd="8" destOrd="0" parTransId="{1C42D9BD-2E5B-4E76-9E40-66D5A1A29680}" sibTransId="{C003C2EE-479C-4DBF-B7AC-B8D0A31A1B1A}"/>
    <dgm:cxn modelId="{60B4DE2D-7BC4-4CFE-B0E4-8716D788935C}" type="presOf" srcId="{81BDE5FB-2735-4B9D-8B6E-A492312CFB44}" destId="{AA89B326-56FA-412B-A913-C6B0240A88D6}" srcOrd="0" destOrd="1" presId="urn:microsoft.com/office/officeart/2005/8/layout/vList2"/>
    <dgm:cxn modelId="{34A5EA30-8F63-4E64-9489-163830DE3F71}" type="presOf" srcId="{16D0C510-BD6B-4470-99EE-B63B0CE1051E}" destId="{66D5E3B7-AD69-4025-80E9-3838DE75D781}" srcOrd="0" destOrd="0" presId="urn:microsoft.com/office/officeart/2005/8/layout/vList2"/>
    <dgm:cxn modelId="{937C7F5E-C9A6-4B92-9836-ED6D4186BE58}" srcId="{16D0C510-BD6B-4470-99EE-B63B0CE1051E}" destId="{81BDE5FB-2735-4B9D-8B6E-A492312CFB44}" srcOrd="1" destOrd="0" parTransId="{63F70892-EFB0-4ABE-AE10-BB22F8CF734B}" sibTransId="{69073241-F27F-4D5D-AAFC-229F50A02F00}"/>
    <dgm:cxn modelId="{F57C9144-4D17-4474-8063-2DF2F3263193}" type="presOf" srcId="{B208BFFA-6F81-4F52-A3A1-35BCAD6EB15C}" destId="{AA89B326-56FA-412B-A913-C6B0240A88D6}" srcOrd="0" destOrd="8" presId="urn:microsoft.com/office/officeart/2005/8/layout/vList2"/>
    <dgm:cxn modelId="{9B94AB4A-C1C6-40BA-B7B4-D89F2A3DE367}" srcId="{16D0C510-BD6B-4470-99EE-B63B0CE1051E}" destId="{2FFE42D9-5A61-49F2-A062-527443A6212E}" srcOrd="7" destOrd="0" parTransId="{BA761DF0-A52C-489E-8900-87B813B6B41A}" sibTransId="{B74C7D84-8441-4762-B00B-29E9D76D8687}"/>
    <dgm:cxn modelId="{0690684C-B828-48E1-9903-6F1AB291948D}" srcId="{16D0C510-BD6B-4470-99EE-B63B0CE1051E}" destId="{8F3D6314-B963-44AA-9741-93E23A37E3BB}" srcOrd="10" destOrd="0" parTransId="{F9378726-290E-4C73-86B6-55AD01900104}" sibTransId="{EE750BD7-C635-40C5-9CB5-BC5642DB4DD3}"/>
    <dgm:cxn modelId="{BE9F7D4E-7FB5-4ABB-9E50-A004BB4945AF}" srcId="{2BBB98CD-F07A-4D75-BA22-800A74F528A8}" destId="{16D0C510-BD6B-4470-99EE-B63B0CE1051E}" srcOrd="0" destOrd="0" parTransId="{ED152025-189D-4E3E-91D0-BAD13212638B}" sibTransId="{6EEFB336-AD28-446F-9DA7-96B6AE5B191F}"/>
    <dgm:cxn modelId="{10E87172-CB4D-4F5B-96F5-4ECA3387F0CF}" type="presOf" srcId="{A0411FCF-CEC7-499F-BB2D-78E51B0C9F80}" destId="{AA89B326-56FA-412B-A913-C6B0240A88D6}" srcOrd="0" destOrd="2" presId="urn:microsoft.com/office/officeart/2005/8/layout/vList2"/>
    <dgm:cxn modelId="{38689C54-16C9-4F0C-80A4-7D17D982A9BA}" srcId="{16D0C510-BD6B-4470-99EE-B63B0CE1051E}" destId="{A0411FCF-CEC7-499F-BB2D-78E51B0C9F80}" srcOrd="2" destOrd="0" parTransId="{A599A49C-8A27-41E6-8709-B0E1D2B525BB}" sibTransId="{98BCE879-C5B7-41FA-B3BE-34C0E5975230}"/>
    <dgm:cxn modelId="{B7D6EF76-829F-4AC2-AB80-C8370DF690D3}" type="presOf" srcId="{2BBB98CD-F07A-4D75-BA22-800A74F528A8}" destId="{0A4390B1-51C0-4D6A-8E63-2784AF505AD5}" srcOrd="0" destOrd="0" presId="urn:microsoft.com/office/officeart/2005/8/layout/vList2"/>
    <dgm:cxn modelId="{9A5E4A78-E805-49F4-9672-C04FEAC46275}" srcId="{16D0C510-BD6B-4470-99EE-B63B0CE1051E}" destId="{0F14801E-6803-4248-A0E9-EEB26F169E0A}" srcOrd="6" destOrd="0" parTransId="{F59468EB-A955-46E4-AFC2-011F3F2ECB8F}" sibTransId="{4F73689F-3394-4C83-B6EF-994F3F6D1200}"/>
    <dgm:cxn modelId="{50FF4E58-CA8B-4B76-984F-82699F52832B}" type="presOf" srcId="{4F20D241-E89E-402D-9AAC-4DF7AE5890CE}" destId="{AA89B326-56FA-412B-A913-C6B0240A88D6}" srcOrd="0" destOrd="5" presId="urn:microsoft.com/office/officeart/2005/8/layout/vList2"/>
    <dgm:cxn modelId="{9888D65A-31FD-46B0-A552-07A8055C994E}" srcId="{16D0C510-BD6B-4470-99EE-B63B0CE1051E}" destId="{C1054332-A819-4C31-8D26-023E3EBF6D23}" srcOrd="4" destOrd="0" parTransId="{47061AF0-0766-46E6-9A42-FA010FE94089}" sibTransId="{2359F29D-18E6-4D4E-85CE-64F0A897D7D4}"/>
    <dgm:cxn modelId="{D29E3B7C-582E-4123-B0E6-93CC8B827650}" type="presOf" srcId="{2FFE42D9-5A61-49F2-A062-527443A6212E}" destId="{AA89B326-56FA-412B-A913-C6B0240A88D6}" srcOrd="0" destOrd="9" presId="urn:microsoft.com/office/officeart/2005/8/layout/vList2"/>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997A1C8A-2EC5-4D99-A5E7-29F2B832A01F}" type="presOf" srcId="{0F14801E-6803-4248-A0E9-EEB26F169E0A}" destId="{AA89B326-56FA-412B-A913-C6B0240A88D6}" srcOrd="0" destOrd="6" presId="urn:microsoft.com/office/officeart/2005/8/layout/vList2"/>
    <dgm:cxn modelId="{80B6A995-F7D0-4829-B355-D6AEECC0B311}" type="presOf" srcId="{C1054332-A819-4C31-8D26-023E3EBF6D23}" destId="{AA89B326-56FA-412B-A913-C6B0240A88D6}" srcOrd="0" destOrd="4" presId="urn:microsoft.com/office/officeart/2005/8/layout/vList2"/>
    <dgm:cxn modelId="{64B27DA1-3F6C-46DD-A064-B5FDFA859ED4}" type="presOf" srcId="{8F3D6314-B963-44AA-9741-93E23A37E3BB}" destId="{AA89B326-56FA-412B-A913-C6B0240A88D6}" srcOrd="0" destOrd="12" presId="urn:microsoft.com/office/officeart/2005/8/layout/vList2"/>
    <dgm:cxn modelId="{2FA2AAB0-8150-48C5-A07B-533D8BE97CE2}" srcId="{16D0C510-BD6B-4470-99EE-B63B0CE1051E}" destId="{C253C273-0272-4126-9694-F2061056344C}" srcOrd="0" destOrd="0" parTransId="{1C898B96-0A68-45BD-9935-F1C8DAEE2BF1}" sibTransId="{2FE63FA2-197C-4530-AFB7-6B2727E5E990}"/>
    <dgm:cxn modelId="{45C2FCBD-FC46-422B-B163-B30A73B4E14B}" srcId="{16D0C510-BD6B-4470-99EE-B63B0CE1051E}" destId="{63671DDB-575D-4C79-8390-1B98144978D0}" srcOrd="3" destOrd="0" parTransId="{A7F5BAC9-F143-45E6-91E9-DB109E576A16}" sibTransId="{9C5E207B-0766-492C-BDB3-2902170A4386}"/>
    <dgm:cxn modelId="{444A7BCB-5474-4B33-B99B-6634F1FF8855}" type="presOf" srcId="{63671DDB-575D-4C79-8390-1B98144978D0}" destId="{AA89B326-56FA-412B-A913-C6B0240A88D6}" srcOrd="0" destOrd="3" presId="urn:microsoft.com/office/officeart/2005/8/layout/vList2"/>
    <dgm:cxn modelId="{D99E80CB-9434-4783-80BF-EEA8EC313ED9}" type="presOf" srcId="{F1CACFC0-765D-4E8A-89C1-F60E974BAB35}" destId="{AA89B326-56FA-412B-A913-C6B0240A88D6}" srcOrd="0" destOrd="11" presId="urn:microsoft.com/office/officeart/2005/8/layout/vList2"/>
    <dgm:cxn modelId="{FC0D21D1-E72F-40D1-8F34-C47596C3B937}" srcId="{16D0C510-BD6B-4470-99EE-B63B0CE1051E}" destId="{F1CACFC0-765D-4E8A-89C1-F60E974BAB35}" srcOrd="9" destOrd="0" parTransId="{DE204EA9-4793-4917-AD9C-0CBFDF9C0BC3}" sibTransId="{0FC132D4-FF8E-4CF2-AA9D-2DBB96EEF782}"/>
    <dgm:cxn modelId="{F9A5ADDC-6835-47A9-A9EE-9A8A4E199CA0}" srcId="{0F14801E-6803-4248-A0E9-EEB26F169E0A}" destId="{BFBFE0B4-5B07-4B42-9DC0-6690F24D89BB}" srcOrd="0" destOrd="0" parTransId="{4881ADF7-C866-4758-88DA-749B9B6510CF}" sibTransId="{3C5B794D-56AA-42B6-8E66-5BFDA2858DEA}"/>
    <dgm:cxn modelId="{1B3A2EE6-7F54-4A4B-ABA8-98605F6F5637}" type="presOf" srcId="{45347C14-70A1-4B49-AF96-590466B5578B}" destId="{AA89B326-56FA-412B-A913-C6B0240A88D6}" srcOrd="0" destOrd="10" presId="urn:microsoft.com/office/officeart/2005/8/layout/vList2"/>
    <dgm:cxn modelId="{C8E5B7E6-6566-4485-AD57-EC0679DFA357}" type="presOf" srcId="{C253C273-0272-4126-9694-F2061056344C}" destId="{AA89B326-56FA-412B-A913-C6B0240A88D6}" srcOrd="0" destOrd="0" presId="urn:microsoft.com/office/officeart/2005/8/layout/vList2"/>
    <dgm:cxn modelId="{F971FCE8-FE2D-4099-BE5A-722D6B7F9934}" srcId="{0F14801E-6803-4248-A0E9-EEB26F169E0A}" destId="{B208BFFA-6F81-4F52-A3A1-35BCAD6EB15C}" srcOrd="1" destOrd="0" parTransId="{8ACA0743-1BF2-4E3E-B973-222C90B74957}" sibTransId="{2D866C54-1B7F-433E-8AFE-04A43626D6E1}"/>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custT="1"/>
      <dgm:spPr/>
      <dgm:t>
        <a:bodyPr/>
        <a:lstStyle/>
        <a:p>
          <a:r>
            <a:rPr lang="en-US" sz="1400" b="1" dirty="0"/>
            <a:t>Exercises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8322A42B-07BD-4DF0-A306-D40066CE7142}">
      <dgm:prSet custT="1"/>
      <dgm:spPr/>
      <dgm:t>
        <a:bodyPr/>
        <a:lstStyle/>
        <a:p>
          <a:r>
            <a:rPr lang="en-US" sz="1400" b="1" dirty="0">
              <a:hlinkClick xmlns:r="http://schemas.openxmlformats.org/officeDocument/2006/relationships" r:id="rId1"/>
            </a:rPr>
            <a:t>Some  free books on NodeJS https://devfreebooks.github.io/nodejs/</a:t>
          </a:r>
          <a:endParaRPr lang="en-US" sz="1400" b="1" dirty="0"/>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C253C273-0272-4126-9694-F2061056344C}">
      <dgm:prSet custT="1"/>
      <dgm:spPr/>
      <dgm:t>
        <a:bodyPr/>
        <a:lstStyle/>
        <a:p>
          <a:pPr marL="114300" lvl="1" indent="0" algn="l" defTabSz="533400">
            <a:lnSpc>
              <a:spcPct val="90000"/>
            </a:lnSpc>
            <a:spcBef>
              <a:spcPct val="0"/>
            </a:spcBef>
            <a:spcAft>
              <a:spcPct val="20000"/>
            </a:spcAft>
          </a:pPr>
          <a:endParaRPr lang="en-US" sz="1200" kern="1200" dirty="0"/>
        </a:p>
      </dgm:t>
    </dgm:pt>
    <dgm:pt modelId="{1C898B96-0A68-45BD-9935-F1C8DAEE2BF1}" type="parTrans" cxnId="{2FA2AAB0-8150-48C5-A07B-533D8BE97CE2}">
      <dgm:prSet/>
      <dgm:spPr/>
      <dgm:t>
        <a:bodyPr/>
        <a:lstStyle/>
        <a:p>
          <a:endParaRPr lang="en-US"/>
        </a:p>
      </dgm:t>
    </dgm:pt>
    <dgm:pt modelId="{2FE63FA2-197C-4530-AFB7-6B2727E5E990}" type="sibTrans" cxnId="{2FA2AAB0-8150-48C5-A07B-533D8BE97CE2}">
      <dgm:prSet/>
      <dgm:spPr/>
      <dgm:t>
        <a:bodyPr/>
        <a:lstStyle/>
        <a:p>
          <a:endParaRPr lang="en-US"/>
        </a:p>
      </dgm:t>
    </dgm:pt>
    <dgm:pt modelId="{CFBCE3C8-5204-46E2-85E5-B1E2A730DE37}">
      <dgm:prSet custT="1"/>
      <dgm:spPr/>
      <dgm:t>
        <a:bodyPr/>
        <a:lstStyle/>
        <a:p>
          <a:pPr marL="114300" lvl="1" indent="0" algn="l" defTabSz="533400">
            <a:lnSpc>
              <a:spcPct val="90000"/>
            </a:lnSpc>
            <a:spcBef>
              <a:spcPct val="0"/>
            </a:spcBef>
            <a:spcAft>
              <a:spcPct val="20000"/>
            </a:spcAft>
          </a:pPr>
          <a:r>
            <a:rPr lang="en-US" sz="1200" kern="1200" dirty="0"/>
            <a:t>Create category wise Technology List using Hash table, Search tags to be stored for each technology.  Create operations to Add, Edit and Delete items  in the list.  Duplicate items should not be added in the list.</a:t>
          </a:r>
        </a:p>
      </dgm:t>
    </dgm:pt>
    <dgm:pt modelId="{E8804A06-CEC4-4C63-9C2E-C830F47A2124}" type="parTrans" cxnId="{7367A0BF-1D97-4DE3-91EB-EDE439241B4B}">
      <dgm:prSet/>
      <dgm:spPr/>
      <dgm:t>
        <a:bodyPr/>
        <a:lstStyle/>
        <a:p>
          <a:endParaRPr lang="en-US"/>
        </a:p>
      </dgm:t>
    </dgm:pt>
    <dgm:pt modelId="{0E1DFBA6-C1F2-4786-9D9C-440E93BB901D}" type="sibTrans" cxnId="{7367A0BF-1D97-4DE3-91EB-EDE439241B4B}">
      <dgm:prSet/>
      <dgm:spPr/>
      <dgm:t>
        <a:bodyPr/>
        <a:lstStyle/>
        <a:p>
          <a:endParaRPr lang="en-US"/>
        </a:p>
      </dgm:t>
    </dgm:pt>
    <dgm:pt modelId="{DA487A88-E1A4-4BA7-A19F-78B5B5FF969C}">
      <dgm:prSet custT="1"/>
      <dgm:spPr/>
      <dgm:t>
        <a:bodyPr/>
        <a:lstStyle/>
        <a:p>
          <a:pPr marL="114300" lvl="1" indent="-114300" algn="l" defTabSz="533400">
            <a:lnSpc>
              <a:spcPct val="90000"/>
            </a:lnSpc>
            <a:spcBef>
              <a:spcPct val="0"/>
            </a:spcBef>
            <a:spcAft>
              <a:spcPct val="20000"/>
            </a:spcAft>
            <a:buFontTx/>
            <a:buChar char="•"/>
          </a:pPr>
          <a:r>
            <a:rPr lang="en-US" sz="1200" kern="1200" dirty="0">
              <a:solidFill>
                <a:srgbClr val="757070">
                  <a:hueOff val="0"/>
                  <a:satOff val="0"/>
                  <a:lumOff val="0"/>
                  <a:alphaOff val="0"/>
                </a:srgbClr>
              </a:solidFill>
              <a:latin typeface="Calibri"/>
              <a:ea typeface="+mn-ea"/>
              <a:cs typeface="+mn-cs"/>
            </a:rPr>
            <a:t>Create JavaScript application for below capabilities Application has to be done module wise.  Common module to be created for reuse across functionalities.</a:t>
          </a:r>
        </a:p>
      </dgm:t>
    </dgm:pt>
    <dgm:pt modelId="{4C331F8E-A10B-48EB-B1D7-86E681C456B5}" type="sibTrans" cxnId="{62BDA9BF-2548-4531-8064-EB6DB3314FD3}">
      <dgm:prSet/>
      <dgm:spPr/>
      <dgm:t>
        <a:bodyPr/>
        <a:lstStyle/>
        <a:p>
          <a:endParaRPr lang="en-US"/>
        </a:p>
      </dgm:t>
    </dgm:pt>
    <dgm:pt modelId="{7B2CBD2B-297D-4714-B156-90B2CC088809}" type="parTrans" cxnId="{62BDA9BF-2548-4531-8064-EB6DB3314FD3}">
      <dgm:prSet/>
      <dgm:spPr/>
      <dgm:t>
        <a:bodyPr/>
        <a:lstStyle/>
        <a:p>
          <a:endParaRPr lang="en-US"/>
        </a:p>
      </dgm:t>
    </dgm:pt>
    <dgm:pt modelId="{FA8F9B9A-917A-47B7-A4B4-575634FD7522}">
      <dgm:prSet custT="1"/>
      <dgm:spPr/>
      <dgm:t>
        <a:bodyPr/>
        <a:lstStyle/>
        <a:p>
          <a:pPr marL="114300" lvl="1" indent="0" algn="l" defTabSz="533400">
            <a:lnSpc>
              <a:spcPct val="90000"/>
            </a:lnSpc>
            <a:spcBef>
              <a:spcPct val="0"/>
            </a:spcBef>
            <a:spcAft>
              <a:spcPct val="20000"/>
            </a:spcAft>
          </a:pPr>
          <a:endParaRPr lang="en-US" sz="1200" kern="1200" dirty="0"/>
        </a:p>
      </dgm:t>
    </dgm:pt>
    <dgm:pt modelId="{1E5700EC-FDC8-49A9-BE8E-1050E3E3192E}" type="parTrans" cxnId="{94D8F22C-9BBF-4F2C-9B1C-E82D896F1A72}">
      <dgm:prSet/>
      <dgm:spPr/>
      <dgm:t>
        <a:bodyPr/>
        <a:lstStyle/>
        <a:p>
          <a:endParaRPr lang="en-US"/>
        </a:p>
      </dgm:t>
    </dgm:pt>
    <dgm:pt modelId="{BEC265DA-9EFF-4D96-9A1F-A9B26395F145}" type="sibTrans" cxnId="{94D8F22C-9BBF-4F2C-9B1C-E82D896F1A72}">
      <dgm:prSet/>
      <dgm:spPr/>
      <dgm:t>
        <a:bodyPr/>
        <a:lstStyle/>
        <a:p>
          <a:endParaRPr lang="en-US"/>
        </a:p>
      </dgm:t>
    </dgm:pt>
    <dgm:pt modelId="{D36BF6F8-7412-497D-B2ED-3C089BC07389}">
      <dgm:prSet custT="1"/>
      <dgm:spPr/>
      <dgm:t>
        <a:bodyPr/>
        <a:lstStyle/>
        <a:p>
          <a:pPr marL="114300" lvl="1" indent="0" algn="l" defTabSz="533400">
            <a:lnSpc>
              <a:spcPct val="90000"/>
            </a:lnSpc>
            <a:spcBef>
              <a:spcPct val="0"/>
            </a:spcBef>
            <a:spcAft>
              <a:spcPct val="20000"/>
            </a:spcAft>
          </a:pPr>
          <a:r>
            <a:rPr lang="en-US" sz="1200" kern="1200" dirty="0"/>
            <a:t>Add operations</a:t>
          </a:r>
        </a:p>
      </dgm:t>
    </dgm:pt>
    <dgm:pt modelId="{29255B99-C4EB-48BE-9441-DDBE3FC5C250}" type="parTrans" cxnId="{7CA53C8B-EF48-4C03-9DED-D2A3917E9E20}">
      <dgm:prSet/>
      <dgm:spPr/>
      <dgm:t>
        <a:bodyPr/>
        <a:lstStyle/>
        <a:p>
          <a:endParaRPr lang="en-US"/>
        </a:p>
      </dgm:t>
    </dgm:pt>
    <dgm:pt modelId="{56C1FA76-E355-4D72-961A-EA782B039376}" type="sibTrans" cxnId="{7CA53C8B-EF48-4C03-9DED-D2A3917E9E20}">
      <dgm:prSet/>
      <dgm:spPr/>
      <dgm:t>
        <a:bodyPr/>
        <a:lstStyle/>
        <a:p>
          <a:endParaRPr lang="en-US"/>
        </a:p>
      </dgm:t>
    </dgm:pt>
    <dgm:pt modelId="{7BBE9815-D9E6-4193-988E-C45729E9E41C}">
      <dgm:prSet custT="1"/>
      <dgm:spPr/>
      <dgm:t>
        <a:bodyPr/>
        <a:lstStyle/>
        <a:p>
          <a:pPr marL="228600" lvl="2" indent="0" algn="l" defTabSz="533400">
            <a:lnSpc>
              <a:spcPct val="90000"/>
            </a:lnSpc>
            <a:spcBef>
              <a:spcPct val="0"/>
            </a:spcBef>
            <a:spcAft>
              <a:spcPct val="20000"/>
            </a:spcAft>
          </a:pPr>
          <a:r>
            <a:rPr lang="en-US" sz="1200" kern="1200" dirty="0"/>
            <a:t> to sort and retrieve 4 records at a time</a:t>
          </a:r>
        </a:p>
      </dgm:t>
    </dgm:pt>
    <dgm:pt modelId="{F2F7442A-B341-4831-AFC0-E5F387BE3225}" type="parTrans" cxnId="{8076BE56-7AC4-4EE5-9C2B-19198B13C608}">
      <dgm:prSet/>
      <dgm:spPr/>
      <dgm:t>
        <a:bodyPr/>
        <a:lstStyle/>
        <a:p>
          <a:endParaRPr lang="en-US"/>
        </a:p>
      </dgm:t>
    </dgm:pt>
    <dgm:pt modelId="{E14EC9EA-4234-4704-85C0-4564630FD24F}" type="sibTrans" cxnId="{8076BE56-7AC4-4EE5-9C2B-19198B13C608}">
      <dgm:prSet/>
      <dgm:spPr/>
      <dgm:t>
        <a:bodyPr/>
        <a:lstStyle/>
        <a:p>
          <a:endParaRPr lang="en-US"/>
        </a:p>
      </dgm:t>
    </dgm:pt>
    <dgm:pt modelId="{29CDF7D9-F052-4354-965E-5E767801FFF2}">
      <dgm:prSet custT="1"/>
      <dgm:spPr/>
      <dgm:t>
        <a:bodyPr/>
        <a:lstStyle/>
        <a:p>
          <a:pPr marL="228600" lvl="2" indent="0" algn="l" defTabSz="533400">
            <a:lnSpc>
              <a:spcPct val="90000"/>
            </a:lnSpc>
            <a:spcBef>
              <a:spcPct val="0"/>
            </a:spcBef>
            <a:spcAft>
              <a:spcPct val="20000"/>
            </a:spcAft>
          </a:pPr>
          <a:r>
            <a:rPr lang="en-US" sz="1200" kern="1200" dirty="0"/>
            <a:t>Search technology by category and name and tags,  name search should include partial text as well.  Multiple search results to be retrieved by  category and name sorted order</a:t>
          </a:r>
        </a:p>
      </dgm:t>
    </dgm:pt>
    <dgm:pt modelId="{EB159DB6-AB36-49D1-83EE-B48ED6DACD29}" type="parTrans" cxnId="{907AE680-C665-40DA-80EA-79B81831BA4B}">
      <dgm:prSet/>
      <dgm:spPr/>
      <dgm:t>
        <a:bodyPr/>
        <a:lstStyle/>
        <a:p>
          <a:endParaRPr lang="en-US"/>
        </a:p>
      </dgm:t>
    </dgm:pt>
    <dgm:pt modelId="{8DEDE570-207B-4406-8B03-4B07322BA73E}" type="sibTrans" cxnId="{907AE680-C665-40DA-80EA-79B81831BA4B}">
      <dgm:prSet/>
      <dgm:spPr/>
      <dgm:t>
        <a:bodyPr/>
        <a:lstStyle/>
        <a:p>
          <a:endParaRPr lang="en-US"/>
        </a:p>
      </dgm:t>
    </dgm:pt>
    <dgm:pt modelId="{2ECBE21B-9874-4613-BFFE-6F90B941491C}">
      <dgm:prSet custT="1"/>
      <dgm:spPr/>
      <dgm:t>
        <a:bodyPr/>
        <a:lstStyle/>
        <a:p>
          <a:pPr marL="114300" lvl="1" indent="-114300" algn="l" defTabSz="533400">
            <a:lnSpc>
              <a:spcPct val="90000"/>
            </a:lnSpc>
            <a:spcBef>
              <a:spcPct val="0"/>
            </a:spcBef>
            <a:spcAft>
              <a:spcPct val="20000"/>
            </a:spcAft>
            <a:buChar char="•"/>
          </a:pPr>
          <a:r>
            <a:rPr lang="en-US" sz="1200" kern="1200" dirty="0">
              <a:solidFill>
                <a:srgbClr val="757070">
                  <a:hueOff val="0"/>
                  <a:satOff val="0"/>
                  <a:lumOff val="0"/>
                  <a:alphaOff val="0"/>
                </a:srgbClr>
              </a:solidFill>
              <a:latin typeface="Calibri"/>
              <a:ea typeface="+mn-ea"/>
              <a:cs typeface="+mn-cs"/>
            </a:rPr>
            <a:t>Create unit tests for each of the operations.  Make sure coverage is above 90%</a:t>
          </a:r>
        </a:p>
      </dgm:t>
    </dgm:pt>
    <dgm:pt modelId="{1734F38C-A433-48E2-A2B7-AA727A200FA6}" type="parTrans" cxnId="{A984B1CC-158C-403A-BCFB-520A223C6EA6}">
      <dgm:prSet/>
      <dgm:spPr/>
      <dgm:t>
        <a:bodyPr/>
        <a:lstStyle/>
        <a:p>
          <a:endParaRPr lang="en-US"/>
        </a:p>
      </dgm:t>
    </dgm:pt>
    <dgm:pt modelId="{CD53F07B-812B-45CD-B963-6EEC44339777}" type="sibTrans" cxnId="{A984B1CC-158C-403A-BCFB-520A223C6EA6}">
      <dgm:prSet/>
      <dgm:spPr/>
      <dgm:t>
        <a:bodyPr/>
        <a:lstStyle/>
        <a:p>
          <a:endParaRPr lang="en-US"/>
        </a:p>
      </dgm:t>
    </dgm:pt>
    <dgm:pt modelId="{AF2B7047-FD2F-4B80-A250-31A09C935008}">
      <dgm:prSet custT="1"/>
      <dgm:spPr/>
      <dgm:t>
        <a:bodyPr/>
        <a:lstStyle/>
        <a:p>
          <a:pPr marL="114300" lvl="1" indent="-114300" algn="l" defTabSz="533400">
            <a:lnSpc>
              <a:spcPct val="90000"/>
            </a:lnSpc>
            <a:spcBef>
              <a:spcPct val="0"/>
            </a:spcBef>
            <a:spcAft>
              <a:spcPct val="20000"/>
            </a:spcAft>
          </a:pPr>
          <a:r>
            <a:rPr lang="en-US" sz="1200" kern="1200" dirty="0"/>
            <a:t>Also create unit tests by mocking the common module and functions</a:t>
          </a:r>
          <a:endParaRPr lang="en-US" sz="1200" kern="1200" dirty="0">
            <a:solidFill>
              <a:srgbClr val="757070">
                <a:hueOff val="0"/>
                <a:satOff val="0"/>
                <a:lumOff val="0"/>
                <a:alphaOff val="0"/>
              </a:srgbClr>
            </a:solidFill>
            <a:latin typeface="Calibri"/>
            <a:ea typeface="+mn-ea"/>
            <a:cs typeface="+mn-cs"/>
          </a:endParaRPr>
        </a:p>
      </dgm:t>
    </dgm:pt>
    <dgm:pt modelId="{E1D0BB61-6566-4D7B-88B1-14DE9555976C}" type="parTrans" cxnId="{176B082B-21DE-47C1-94B9-3DCFB93D404A}">
      <dgm:prSet/>
      <dgm:spPr/>
      <dgm:t>
        <a:bodyPr/>
        <a:lstStyle/>
        <a:p>
          <a:endParaRPr lang="en-US"/>
        </a:p>
      </dgm:t>
    </dgm:pt>
    <dgm:pt modelId="{C10E858A-D3CF-4288-8B16-F9E3A2BF476C}" type="sibTrans" cxnId="{176B082B-21DE-47C1-94B9-3DCFB93D404A}">
      <dgm:prSet/>
      <dgm:spPr/>
      <dgm:t>
        <a:bodyPr/>
        <a:lstStyle/>
        <a:p>
          <a:endParaRPr lang="en-US"/>
        </a:p>
      </dgm:t>
    </dgm:pt>
    <dgm:pt modelId="{7FF13803-DC97-4A8A-871A-836DFEBEF922}">
      <dgm:prSet custT="1"/>
      <dgm:spPr/>
      <dgm:t>
        <a:bodyPr/>
        <a:lstStyle/>
        <a:p>
          <a:pPr marL="114300" lvl="1" indent="-114300" algn="l" defTabSz="533400">
            <a:lnSpc>
              <a:spcPct val="90000"/>
            </a:lnSpc>
            <a:spcBef>
              <a:spcPct val="0"/>
            </a:spcBef>
            <a:spcAft>
              <a:spcPct val="20000"/>
            </a:spcAft>
          </a:pPr>
          <a:r>
            <a:rPr lang="en-US" sz="1200" kern="1200" dirty="0">
              <a:solidFill>
                <a:srgbClr val="757070">
                  <a:hueOff val="0"/>
                  <a:satOff val="0"/>
                  <a:lumOff val="0"/>
                  <a:alphaOff val="0"/>
                </a:srgbClr>
              </a:solidFill>
              <a:latin typeface="Calibri"/>
              <a:ea typeface="+mn-ea"/>
              <a:cs typeface="+mn-cs"/>
            </a:rPr>
            <a:t> U</a:t>
          </a:r>
          <a:r>
            <a:rPr lang="en-US" sz="1200" kern="1200" dirty="0"/>
            <a:t>sing JavaScript and Node.js – </a:t>
          </a:r>
          <a:r>
            <a:rPr lang="en-US" sz="1200" kern="1200" dirty="0">
              <a:solidFill>
                <a:srgbClr val="757070">
                  <a:hueOff val="0"/>
                  <a:satOff val="0"/>
                  <a:lumOff val="0"/>
                  <a:alphaOff val="0"/>
                </a:srgbClr>
              </a:solidFill>
              <a:latin typeface="Calibri"/>
              <a:ea typeface="+mn-ea"/>
              <a:cs typeface="+mn-cs"/>
            </a:rPr>
            <a:t>Create program to convert the given folder to JSON.  Each node in JSON contains type, name, path and children.  Also create capability to search file using this JSON.  Make sure to handle the scenario if file is not available.  Also ensure proper error handling.</a:t>
          </a:r>
        </a:p>
      </dgm:t>
    </dgm:pt>
    <dgm:pt modelId="{92A954D7-D596-4D30-9496-362D093B164A}" type="parTrans" cxnId="{53CE26CF-A6AA-4BF7-A498-FD1ABB18D7B4}">
      <dgm:prSet/>
      <dgm:spPr/>
      <dgm:t>
        <a:bodyPr/>
        <a:lstStyle/>
        <a:p>
          <a:endParaRPr lang="en-US"/>
        </a:p>
      </dgm:t>
    </dgm:pt>
    <dgm:pt modelId="{DE91FA57-5013-44C4-A7FF-387B5E34AECC}" type="sibTrans" cxnId="{53CE26CF-A6AA-4BF7-A498-FD1ABB18D7B4}">
      <dgm:prSet/>
      <dgm:spPr/>
      <dgm:t>
        <a:bodyPr/>
        <a:lstStyle/>
        <a:p>
          <a:endParaRPr lang="en-US"/>
        </a:p>
      </dgm:t>
    </dgm:pt>
    <dgm:pt modelId="{D592D9DF-A3D2-46E9-AAA8-8B7331F678D0}">
      <dgm:prSet custT="1"/>
      <dgm:spPr/>
      <dgm:t>
        <a:bodyPr/>
        <a:lstStyle/>
        <a:p>
          <a:pPr marL="114300" lvl="1" indent="-114300" algn="l" defTabSz="533400">
            <a:lnSpc>
              <a:spcPct val="90000"/>
            </a:lnSpc>
            <a:spcBef>
              <a:spcPct val="0"/>
            </a:spcBef>
            <a:spcAft>
              <a:spcPct val="20000"/>
            </a:spcAft>
          </a:pPr>
          <a:endParaRPr lang="en-US" sz="1200" kern="1200" dirty="0">
            <a:solidFill>
              <a:srgbClr val="757070">
                <a:hueOff val="0"/>
                <a:satOff val="0"/>
                <a:lumOff val="0"/>
                <a:alphaOff val="0"/>
              </a:srgbClr>
            </a:solidFill>
            <a:latin typeface="Calibri"/>
            <a:ea typeface="+mn-ea"/>
            <a:cs typeface="+mn-cs"/>
          </a:endParaRPr>
        </a:p>
      </dgm:t>
    </dgm:pt>
    <dgm:pt modelId="{538E4D64-236C-440A-BC24-55D27A104EDF}" type="parTrans" cxnId="{E4108B3E-7A09-4538-851B-1B6FBBBA28BE}">
      <dgm:prSet/>
      <dgm:spPr/>
      <dgm:t>
        <a:bodyPr/>
        <a:lstStyle/>
        <a:p>
          <a:endParaRPr lang="en-US"/>
        </a:p>
      </dgm:t>
    </dgm:pt>
    <dgm:pt modelId="{1A790189-3EF9-48D6-908B-85240276522A}" type="sibTrans" cxnId="{E4108B3E-7A09-4538-851B-1B6FBBBA28BE}">
      <dgm:prSet/>
      <dgm:spPr/>
      <dgm:t>
        <a:bodyPr/>
        <a:lstStyle/>
        <a:p>
          <a:endParaRPr lang="en-US"/>
        </a:p>
      </dgm:t>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ScaleY="12923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X="7944" custLinFactNeighborY="-825">
        <dgm:presLayoutVars>
          <dgm:chMax val="0"/>
          <dgm:bulletEnabled val="1"/>
        </dgm:presLayoutVars>
      </dgm:prSet>
      <dgm:spPr/>
    </dgm:pt>
  </dgm:ptLst>
  <dgm:cxnLst>
    <dgm:cxn modelId="{FEA7F413-216F-4E21-BF7D-7789524BFD7C}" type="presOf" srcId="{CFBCE3C8-5204-46E2-85E5-B1E2A730DE37}" destId="{AA89B326-56FA-412B-A913-C6B0240A88D6}" srcOrd="0" destOrd="2" presId="urn:microsoft.com/office/officeart/2005/8/layout/vList2"/>
    <dgm:cxn modelId="{176B082B-21DE-47C1-94B9-3DCFB93D404A}" srcId="{16D0C510-BD6B-4470-99EE-B63B0CE1051E}" destId="{AF2B7047-FD2F-4B80-A250-31A09C935008}" srcOrd="4" destOrd="0" parTransId="{E1D0BB61-6566-4D7B-88B1-14DE9555976C}" sibTransId="{C10E858A-D3CF-4288-8B16-F9E3A2BF476C}"/>
    <dgm:cxn modelId="{94D8F22C-9BBF-4F2C-9B1C-E82D896F1A72}" srcId="{16D0C510-BD6B-4470-99EE-B63B0CE1051E}" destId="{FA8F9B9A-917A-47B7-A4B4-575634FD7522}" srcOrd="7" destOrd="0" parTransId="{1E5700EC-FDC8-49A9-BE8E-1050E3E3192E}" sibTransId="{BEC265DA-9EFF-4D96-9A1F-A9B26395F145}"/>
    <dgm:cxn modelId="{34A5EA30-8F63-4E64-9489-163830DE3F71}" type="presOf" srcId="{16D0C510-BD6B-4470-99EE-B63B0CE1051E}" destId="{66D5E3B7-AD69-4025-80E9-3838DE75D781}" srcOrd="0" destOrd="0" presId="urn:microsoft.com/office/officeart/2005/8/layout/vList2"/>
    <dgm:cxn modelId="{1986AC37-69B8-4205-B39F-A0CE75239827}" type="presOf" srcId="{2ECBE21B-9874-4613-BFFE-6F90B941491C}" destId="{AA89B326-56FA-412B-A913-C6B0240A88D6}" srcOrd="0" destOrd="6" presId="urn:microsoft.com/office/officeart/2005/8/layout/vList2"/>
    <dgm:cxn modelId="{E4108B3E-7A09-4538-851B-1B6FBBBA28BE}" srcId="{16D0C510-BD6B-4470-99EE-B63B0CE1051E}" destId="{D592D9DF-A3D2-46E9-AAA8-8B7331F678D0}" srcOrd="5" destOrd="0" parTransId="{538E4D64-236C-440A-BC24-55D27A104EDF}" sibTransId="{1A790189-3EF9-48D6-908B-85240276522A}"/>
    <dgm:cxn modelId="{8BC68242-D7D7-433E-8459-301782DF89C7}" type="presOf" srcId="{29CDF7D9-F052-4354-965E-5E767801FFF2}" destId="{AA89B326-56FA-412B-A913-C6B0240A88D6}" srcOrd="0" destOrd="5" presId="urn:microsoft.com/office/officeart/2005/8/layout/vList2"/>
    <dgm:cxn modelId="{BE9F7D4E-7FB5-4ABB-9E50-A004BB4945AF}" srcId="{2BBB98CD-F07A-4D75-BA22-800A74F528A8}" destId="{16D0C510-BD6B-4470-99EE-B63B0CE1051E}" srcOrd="0" destOrd="0" parTransId="{ED152025-189D-4E3E-91D0-BAD13212638B}" sibTransId="{6EEFB336-AD28-446F-9DA7-96B6AE5B191F}"/>
    <dgm:cxn modelId="{8076BE56-7AC4-4EE5-9C2B-19198B13C608}" srcId="{D36BF6F8-7412-497D-B2ED-3C089BC07389}" destId="{7BBE9815-D9E6-4193-988E-C45729E9E41C}" srcOrd="0" destOrd="0" parTransId="{F2F7442A-B341-4831-AFC0-E5F387BE3225}" sibTransId="{E14EC9EA-4234-4704-85C0-4564630FD24F}"/>
    <dgm:cxn modelId="{B7D6EF76-829F-4AC2-AB80-C8370DF690D3}" type="presOf" srcId="{2BBB98CD-F07A-4D75-BA22-800A74F528A8}" destId="{0A4390B1-51C0-4D6A-8E63-2784AF505AD5}" srcOrd="0" destOrd="0" presId="urn:microsoft.com/office/officeart/2005/8/layout/vList2"/>
    <dgm:cxn modelId="{77E7F37D-B686-4724-8FB7-237A64F7D17D}" type="presOf" srcId="{8322A42B-07BD-4DF0-A306-D40066CE7142}" destId="{46D43071-C761-47B9-B977-3C1563DACDB5}" srcOrd="0" destOrd="0" presId="urn:microsoft.com/office/officeart/2005/8/layout/vList2"/>
    <dgm:cxn modelId="{907AE680-C665-40DA-80EA-79B81831BA4B}" srcId="{D36BF6F8-7412-497D-B2ED-3C089BC07389}" destId="{29CDF7D9-F052-4354-965E-5E767801FFF2}" srcOrd="1" destOrd="0" parTransId="{EB159DB6-AB36-49D1-83EE-B48ED6DACD29}" sibTransId="{8DEDE570-207B-4406-8B03-4B07322BA73E}"/>
    <dgm:cxn modelId="{789C9082-50DF-41FE-8780-7251CFCE468D}" srcId="{2BBB98CD-F07A-4D75-BA22-800A74F528A8}" destId="{8322A42B-07BD-4DF0-A306-D40066CE7142}" srcOrd="1" destOrd="0" parTransId="{7D639C33-8B2E-4B24-B9FD-F2E8B6E5AFF9}" sibTransId="{FD7CBC7B-47CD-48E2-8212-B8D4861DB37E}"/>
    <dgm:cxn modelId="{8C99AB89-45CF-4659-8FE3-E057FFBFFF47}" type="presOf" srcId="{D592D9DF-A3D2-46E9-AAA8-8B7331F678D0}" destId="{AA89B326-56FA-412B-A913-C6B0240A88D6}" srcOrd="0" destOrd="8" presId="urn:microsoft.com/office/officeart/2005/8/layout/vList2"/>
    <dgm:cxn modelId="{7CA53C8B-EF48-4C03-9DED-D2A3917E9E20}" srcId="{16D0C510-BD6B-4470-99EE-B63B0CE1051E}" destId="{D36BF6F8-7412-497D-B2ED-3C089BC07389}" srcOrd="3" destOrd="0" parTransId="{29255B99-C4EB-48BE-9441-DDBE3FC5C250}" sibTransId="{56C1FA76-E355-4D72-961A-EA782B039376}"/>
    <dgm:cxn modelId="{7882B38D-3469-457A-8941-6639BD8F1101}" type="presOf" srcId="{7FF13803-DC97-4A8A-871A-836DFEBEF922}" destId="{AA89B326-56FA-412B-A913-C6B0240A88D6}" srcOrd="0" destOrd="9" presId="urn:microsoft.com/office/officeart/2005/8/layout/vList2"/>
    <dgm:cxn modelId="{BABD61AA-09E3-490C-B3B3-D0A254C2D710}" type="presOf" srcId="{7BBE9815-D9E6-4193-988E-C45729E9E41C}" destId="{AA89B326-56FA-412B-A913-C6B0240A88D6}" srcOrd="0" destOrd="4" presId="urn:microsoft.com/office/officeart/2005/8/layout/vList2"/>
    <dgm:cxn modelId="{2FA2AAB0-8150-48C5-A07B-533D8BE97CE2}" srcId="{16D0C510-BD6B-4470-99EE-B63B0CE1051E}" destId="{C253C273-0272-4126-9694-F2061056344C}" srcOrd="0" destOrd="0" parTransId="{1C898B96-0A68-45BD-9935-F1C8DAEE2BF1}" sibTransId="{2FE63FA2-197C-4530-AFB7-6B2727E5E990}"/>
    <dgm:cxn modelId="{DBC92CB1-CA6D-4808-A697-233CDDC4232C}" type="presOf" srcId="{FA8F9B9A-917A-47B7-A4B4-575634FD7522}" destId="{AA89B326-56FA-412B-A913-C6B0240A88D6}" srcOrd="0" destOrd="10" presId="urn:microsoft.com/office/officeart/2005/8/layout/vList2"/>
    <dgm:cxn modelId="{7367A0BF-1D97-4DE3-91EB-EDE439241B4B}" srcId="{16D0C510-BD6B-4470-99EE-B63B0CE1051E}" destId="{CFBCE3C8-5204-46E2-85E5-B1E2A730DE37}" srcOrd="2" destOrd="0" parTransId="{E8804A06-CEC4-4C63-9C2E-C830F47A2124}" sibTransId="{0E1DFBA6-C1F2-4786-9D9C-440E93BB901D}"/>
    <dgm:cxn modelId="{62BDA9BF-2548-4531-8064-EB6DB3314FD3}" srcId="{16D0C510-BD6B-4470-99EE-B63B0CE1051E}" destId="{DA487A88-E1A4-4BA7-A19F-78B5B5FF969C}" srcOrd="1" destOrd="0" parTransId="{7B2CBD2B-297D-4714-B156-90B2CC088809}" sibTransId="{4C331F8E-A10B-48EB-B1D7-86E681C456B5}"/>
    <dgm:cxn modelId="{C934F7CA-67E9-4B1C-AF45-4821E4B17F86}" type="presOf" srcId="{AF2B7047-FD2F-4B80-A250-31A09C935008}" destId="{AA89B326-56FA-412B-A913-C6B0240A88D6}" srcOrd="0" destOrd="7" presId="urn:microsoft.com/office/officeart/2005/8/layout/vList2"/>
    <dgm:cxn modelId="{A984B1CC-158C-403A-BCFB-520A223C6EA6}" srcId="{D36BF6F8-7412-497D-B2ED-3C089BC07389}" destId="{2ECBE21B-9874-4613-BFFE-6F90B941491C}" srcOrd="2" destOrd="0" parTransId="{1734F38C-A433-48E2-A2B7-AA727A200FA6}" sibTransId="{CD53F07B-812B-45CD-B963-6EEC44339777}"/>
    <dgm:cxn modelId="{10954ACD-1C0F-4BB8-898A-9BAD1578D67F}" type="presOf" srcId="{DA487A88-E1A4-4BA7-A19F-78B5B5FF969C}" destId="{AA89B326-56FA-412B-A913-C6B0240A88D6}" srcOrd="0" destOrd="1" presId="urn:microsoft.com/office/officeart/2005/8/layout/vList2"/>
    <dgm:cxn modelId="{53CE26CF-A6AA-4BF7-A498-FD1ABB18D7B4}" srcId="{16D0C510-BD6B-4470-99EE-B63B0CE1051E}" destId="{7FF13803-DC97-4A8A-871A-836DFEBEF922}" srcOrd="6" destOrd="0" parTransId="{92A954D7-D596-4D30-9496-362D093B164A}" sibTransId="{DE91FA57-5013-44C4-A7FF-387B5E34AECC}"/>
    <dgm:cxn modelId="{C8E5B7E6-6566-4485-AD57-EC0679DFA357}" type="presOf" srcId="{C253C273-0272-4126-9694-F2061056344C}" destId="{AA89B326-56FA-412B-A913-C6B0240A88D6}" srcOrd="0" destOrd="0" presId="urn:microsoft.com/office/officeart/2005/8/layout/vList2"/>
    <dgm:cxn modelId="{1BA2EFED-CAD7-4906-9F7E-7587A52E7970}" type="presOf" srcId="{D36BF6F8-7412-497D-B2ED-3C089BC07389}" destId="{AA89B326-56FA-412B-A913-C6B0240A88D6}" srcOrd="0" destOrd="3" presId="urn:microsoft.com/office/officeart/2005/8/layout/vList2"/>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BBB98CD-F07A-4D75-BA22-800A74F528A8}"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16D0C510-BD6B-4470-99EE-B63B0CE1051E}">
      <dgm:prSet custT="1"/>
      <dgm:spPr/>
      <dgm:t>
        <a:bodyPr/>
        <a:lstStyle/>
        <a:p>
          <a:r>
            <a:rPr lang="en-US" sz="2000" b="1" dirty="0"/>
            <a:t>Exercises</a:t>
          </a:r>
          <a:r>
            <a:rPr lang="en-US" sz="1400" b="1" dirty="0"/>
            <a:t> </a:t>
          </a:r>
        </a:p>
      </dgm:t>
    </dgm:pt>
    <dgm:pt modelId="{ED152025-189D-4E3E-91D0-BAD13212638B}" type="parTrans" cxnId="{BE9F7D4E-7FB5-4ABB-9E50-A004BB4945AF}">
      <dgm:prSet/>
      <dgm:spPr/>
      <dgm:t>
        <a:bodyPr/>
        <a:lstStyle/>
        <a:p>
          <a:endParaRPr lang="en-US"/>
        </a:p>
      </dgm:t>
    </dgm:pt>
    <dgm:pt modelId="{6EEFB336-AD28-446F-9DA7-96B6AE5B191F}" type="sibTrans" cxnId="{BE9F7D4E-7FB5-4ABB-9E50-A004BB4945AF}">
      <dgm:prSet/>
      <dgm:spPr/>
      <dgm:t>
        <a:bodyPr/>
        <a:lstStyle/>
        <a:p>
          <a:endParaRPr lang="en-US"/>
        </a:p>
      </dgm:t>
    </dgm:pt>
    <dgm:pt modelId="{8322A42B-07BD-4DF0-A306-D40066CE7142}">
      <dgm:prSet custT="1"/>
      <dgm:spPr/>
      <dgm:t>
        <a:bodyPr/>
        <a:lstStyle/>
        <a:p>
          <a:r>
            <a:rPr lang="en-US" sz="1400" b="1" dirty="0">
              <a:hlinkClick xmlns:r="http://schemas.openxmlformats.org/officeDocument/2006/relationships" r:id="rId1"/>
            </a:rPr>
            <a:t>Some  free books on NodeJS https://devfreebooks.github.io/nodejs/</a:t>
          </a:r>
          <a:endParaRPr lang="en-US" sz="1400" b="1" dirty="0"/>
        </a:p>
      </dgm:t>
    </dgm:pt>
    <dgm:pt modelId="{7D639C33-8B2E-4B24-B9FD-F2E8B6E5AFF9}" type="parTrans" cxnId="{789C9082-50DF-41FE-8780-7251CFCE468D}">
      <dgm:prSet/>
      <dgm:spPr/>
      <dgm:t>
        <a:bodyPr/>
        <a:lstStyle/>
        <a:p>
          <a:endParaRPr lang="en-US"/>
        </a:p>
      </dgm:t>
    </dgm:pt>
    <dgm:pt modelId="{FD7CBC7B-47CD-48E2-8212-B8D4861DB37E}" type="sibTrans" cxnId="{789C9082-50DF-41FE-8780-7251CFCE468D}">
      <dgm:prSet/>
      <dgm:spPr/>
      <dgm:t>
        <a:bodyPr/>
        <a:lstStyle/>
        <a:p>
          <a:endParaRPr lang="en-US"/>
        </a:p>
      </dgm:t>
    </dgm:pt>
    <dgm:pt modelId="{C253C273-0272-4126-9694-F2061056344C}">
      <dgm:prSet custT="1"/>
      <dgm:spPr/>
      <dgm:t>
        <a:bodyPr/>
        <a:lstStyle/>
        <a:p>
          <a:pPr marL="114300" lvl="1" indent="0" algn="l" defTabSz="533400">
            <a:lnSpc>
              <a:spcPct val="90000"/>
            </a:lnSpc>
            <a:spcBef>
              <a:spcPct val="0"/>
            </a:spcBef>
            <a:spcAft>
              <a:spcPct val="20000"/>
            </a:spcAft>
          </a:pPr>
          <a:endParaRPr lang="en-US" sz="1200" kern="1200" dirty="0"/>
        </a:p>
      </dgm:t>
    </dgm:pt>
    <dgm:pt modelId="{1C898B96-0A68-45BD-9935-F1C8DAEE2BF1}" type="parTrans" cxnId="{2FA2AAB0-8150-48C5-A07B-533D8BE97CE2}">
      <dgm:prSet/>
      <dgm:spPr/>
      <dgm:t>
        <a:bodyPr/>
        <a:lstStyle/>
        <a:p>
          <a:endParaRPr lang="en-US"/>
        </a:p>
      </dgm:t>
    </dgm:pt>
    <dgm:pt modelId="{2FE63FA2-197C-4530-AFB7-6B2727E5E990}" type="sibTrans" cxnId="{2FA2AAB0-8150-48C5-A07B-533D8BE97CE2}">
      <dgm:prSet/>
      <dgm:spPr/>
      <dgm:t>
        <a:bodyPr/>
        <a:lstStyle/>
        <a:p>
          <a:endParaRPr lang="en-US"/>
        </a:p>
      </dgm:t>
    </dgm:pt>
    <dgm:pt modelId="{DA487A88-E1A4-4BA7-A19F-78B5B5FF969C}">
      <dgm:prSet custT="1"/>
      <dgm:spPr/>
      <dgm:t>
        <a:bodyPr/>
        <a:lstStyle/>
        <a:p>
          <a:pPr marL="114300" lvl="1" indent="-114300" algn="l" defTabSz="533400">
            <a:lnSpc>
              <a:spcPct val="90000"/>
            </a:lnSpc>
            <a:spcBef>
              <a:spcPct val="0"/>
            </a:spcBef>
            <a:spcAft>
              <a:spcPct val="20000"/>
            </a:spcAft>
            <a:buFontTx/>
            <a:buChar char="•"/>
          </a:pPr>
          <a:r>
            <a:rPr lang="en-US" sz="1600" kern="1200" dirty="0">
              <a:solidFill>
                <a:srgbClr val="757070">
                  <a:hueOff val="0"/>
                  <a:satOff val="0"/>
                  <a:lumOff val="0"/>
                  <a:alphaOff val="0"/>
                </a:srgbClr>
              </a:solidFill>
              <a:latin typeface="Calibri"/>
              <a:ea typeface="+mn-ea"/>
              <a:cs typeface="+mn-cs"/>
            </a:rPr>
            <a:t> Create a JavaScript application for below capabilities</a:t>
          </a:r>
        </a:p>
      </dgm:t>
    </dgm:pt>
    <dgm:pt modelId="{4C331F8E-A10B-48EB-B1D7-86E681C456B5}" type="sibTrans" cxnId="{62BDA9BF-2548-4531-8064-EB6DB3314FD3}">
      <dgm:prSet/>
      <dgm:spPr/>
      <dgm:t>
        <a:bodyPr/>
        <a:lstStyle/>
        <a:p>
          <a:endParaRPr lang="en-US"/>
        </a:p>
      </dgm:t>
    </dgm:pt>
    <dgm:pt modelId="{7B2CBD2B-297D-4714-B156-90B2CC088809}" type="parTrans" cxnId="{62BDA9BF-2548-4531-8064-EB6DB3314FD3}">
      <dgm:prSet/>
      <dgm:spPr/>
      <dgm:t>
        <a:bodyPr/>
        <a:lstStyle/>
        <a:p>
          <a:endParaRPr lang="en-US"/>
        </a:p>
      </dgm:t>
    </dgm:pt>
    <dgm:pt modelId="{2ECBE21B-9874-4613-BFFE-6F90B941491C}">
      <dgm:prSet custT="1"/>
      <dgm:spPr/>
      <dgm:t>
        <a:bodyPr/>
        <a:lstStyle/>
        <a:p>
          <a:pPr marL="114300" lvl="1" indent="-114300" algn="l" defTabSz="533400">
            <a:lnSpc>
              <a:spcPct val="90000"/>
            </a:lnSpc>
            <a:spcBef>
              <a:spcPct val="0"/>
            </a:spcBef>
            <a:spcAft>
              <a:spcPct val="20000"/>
            </a:spcAft>
            <a:buChar char="•"/>
          </a:pPr>
          <a:r>
            <a:rPr lang="en-US" sz="1600" kern="1200" dirty="0">
              <a:solidFill>
                <a:srgbClr val="757070">
                  <a:hueOff val="0"/>
                  <a:satOff val="0"/>
                  <a:lumOff val="0"/>
                  <a:alphaOff val="0"/>
                </a:srgbClr>
              </a:solidFill>
              <a:latin typeface="Calibri"/>
              <a:ea typeface="+mn-ea"/>
              <a:cs typeface="+mn-cs"/>
            </a:rPr>
            <a:t>Create unit tests for each of the operations.  Make sure coverage is above 90%</a:t>
          </a:r>
        </a:p>
      </dgm:t>
    </dgm:pt>
    <dgm:pt modelId="{1734F38C-A433-48E2-A2B7-AA727A200FA6}" type="parTrans" cxnId="{A984B1CC-158C-403A-BCFB-520A223C6EA6}">
      <dgm:prSet/>
      <dgm:spPr/>
      <dgm:t>
        <a:bodyPr/>
        <a:lstStyle/>
        <a:p>
          <a:endParaRPr lang="en-US"/>
        </a:p>
      </dgm:t>
    </dgm:pt>
    <dgm:pt modelId="{CD53F07B-812B-45CD-B963-6EEC44339777}" type="sibTrans" cxnId="{A984B1CC-158C-403A-BCFB-520A223C6EA6}">
      <dgm:prSet/>
      <dgm:spPr/>
      <dgm:t>
        <a:bodyPr/>
        <a:lstStyle/>
        <a:p>
          <a:endParaRPr lang="en-US"/>
        </a:p>
      </dgm:t>
    </dgm:pt>
    <dgm:pt modelId="{AF2B7047-FD2F-4B80-A250-31A09C935008}">
      <dgm:prSet custT="1"/>
      <dgm:spPr/>
      <dgm:t>
        <a:bodyPr/>
        <a:lstStyle/>
        <a:p>
          <a:pPr marL="114300" lvl="1" indent="-114300" algn="l" defTabSz="533400">
            <a:lnSpc>
              <a:spcPct val="90000"/>
            </a:lnSpc>
            <a:spcBef>
              <a:spcPct val="0"/>
            </a:spcBef>
            <a:spcAft>
              <a:spcPct val="20000"/>
            </a:spcAft>
          </a:pPr>
          <a:r>
            <a:rPr lang="en-US" sz="1600" kern="1200" dirty="0"/>
            <a:t>Also create unit tests by mocking the common module and functions</a:t>
          </a:r>
          <a:endParaRPr lang="en-US" sz="1600" kern="1200" dirty="0">
            <a:solidFill>
              <a:srgbClr val="757070">
                <a:hueOff val="0"/>
                <a:satOff val="0"/>
                <a:lumOff val="0"/>
                <a:alphaOff val="0"/>
              </a:srgbClr>
            </a:solidFill>
            <a:latin typeface="Calibri"/>
            <a:ea typeface="+mn-ea"/>
            <a:cs typeface="+mn-cs"/>
          </a:endParaRPr>
        </a:p>
      </dgm:t>
    </dgm:pt>
    <dgm:pt modelId="{E1D0BB61-6566-4D7B-88B1-14DE9555976C}" type="parTrans" cxnId="{176B082B-21DE-47C1-94B9-3DCFB93D404A}">
      <dgm:prSet/>
      <dgm:spPr/>
      <dgm:t>
        <a:bodyPr/>
        <a:lstStyle/>
        <a:p>
          <a:endParaRPr lang="en-US"/>
        </a:p>
      </dgm:t>
    </dgm:pt>
    <dgm:pt modelId="{C10E858A-D3CF-4288-8B16-F9E3A2BF476C}" type="sibTrans" cxnId="{176B082B-21DE-47C1-94B9-3DCFB93D404A}">
      <dgm:prSet/>
      <dgm:spPr/>
      <dgm:t>
        <a:bodyPr/>
        <a:lstStyle/>
        <a:p>
          <a:endParaRPr lang="en-US"/>
        </a:p>
      </dgm:t>
    </dgm:pt>
    <dgm:pt modelId="{D592D9DF-A3D2-46E9-AAA8-8B7331F678D0}">
      <dgm:prSet custT="1"/>
      <dgm:spPr/>
      <dgm:t>
        <a:bodyPr/>
        <a:lstStyle/>
        <a:p>
          <a:pPr marL="114300" lvl="1" indent="-114300" algn="l" defTabSz="533400">
            <a:lnSpc>
              <a:spcPct val="90000"/>
            </a:lnSpc>
            <a:spcBef>
              <a:spcPct val="0"/>
            </a:spcBef>
            <a:spcAft>
              <a:spcPct val="20000"/>
            </a:spcAft>
          </a:pPr>
          <a:endParaRPr lang="en-US" sz="1200" kern="1200" dirty="0">
            <a:solidFill>
              <a:srgbClr val="757070">
                <a:hueOff val="0"/>
                <a:satOff val="0"/>
                <a:lumOff val="0"/>
                <a:alphaOff val="0"/>
              </a:srgbClr>
            </a:solidFill>
            <a:latin typeface="Calibri"/>
            <a:ea typeface="+mn-ea"/>
            <a:cs typeface="+mn-cs"/>
          </a:endParaRPr>
        </a:p>
      </dgm:t>
    </dgm:pt>
    <dgm:pt modelId="{538E4D64-236C-440A-BC24-55D27A104EDF}" type="parTrans" cxnId="{E4108B3E-7A09-4538-851B-1B6FBBBA28BE}">
      <dgm:prSet/>
      <dgm:spPr/>
      <dgm:t>
        <a:bodyPr/>
        <a:lstStyle/>
        <a:p>
          <a:endParaRPr lang="en-US"/>
        </a:p>
      </dgm:t>
    </dgm:pt>
    <dgm:pt modelId="{1A790189-3EF9-48D6-908B-85240276522A}" type="sibTrans" cxnId="{E4108B3E-7A09-4538-851B-1B6FBBBA28BE}">
      <dgm:prSet/>
      <dgm:spPr/>
      <dgm:t>
        <a:bodyPr/>
        <a:lstStyle/>
        <a:p>
          <a:endParaRPr lang="en-US"/>
        </a:p>
      </dgm:t>
    </dgm:pt>
    <dgm:pt modelId="{7FCAD7F6-93B5-4D82-9EED-F7A945C994FD}">
      <dgm:prSet custT="1"/>
      <dgm:spPr/>
      <dgm:t>
        <a:bodyPr/>
        <a:lstStyle/>
        <a:p>
          <a:pPr marL="114300" lvl="1" indent="-114300" algn="l" defTabSz="533400">
            <a:lnSpc>
              <a:spcPct val="90000"/>
            </a:lnSpc>
            <a:spcBef>
              <a:spcPct val="0"/>
            </a:spcBef>
            <a:spcAft>
              <a:spcPct val="20000"/>
            </a:spcAft>
            <a:buFontTx/>
            <a:buChar char="•"/>
          </a:pPr>
          <a:r>
            <a:rPr lang="en-US" sz="1600" kern="1200" dirty="0">
              <a:solidFill>
                <a:srgbClr val="757070">
                  <a:hueOff val="0"/>
                  <a:satOff val="0"/>
                  <a:lumOff val="0"/>
                  <a:alphaOff val="0"/>
                </a:srgbClr>
              </a:solidFill>
              <a:latin typeface="Calibri"/>
              <a:ea typeface="+mn-ea"/>
              <a:cs typeface="+mn-cs"/>
            </a:rPr>
            <a:t> Application has to be done module wise.  Common module to be created for reuse across functionalities.</a:t>
          </a:r>
        </a:p>
      </dgm:t>
    </dgm:pt>
    <dgm:pt modelId="{F93B2829-C6BD-44D4-AD7F-E3B4B4511E69}" type="parTrans" cxnId="{929BB225-E568-4B32-9CF1-19434AEA29F3}">
      <dgm:prSet/>
      <dgm:spPr/>
    </dgm:pt>
    <dgm:pt modelId="{F40373A4-5F51-4DF6-933A-6DE05CED39B4}" type="sibTrans" cxnId="{929BB225-E568-4B32-9CF1-19434AEA29F3}">
      <dgm:prSet/>
      <dgm:spPr/>
    </dgm:pt>
    <dgm:pt modelId="{70631C57-9CB7-4B9D-B2DF-A7B0826A2188}">
      <dgm:prSet custT="1"/>
      <dgm:spPr/>
      <dgm:t>
        <a:bodyPr/>
        <a:lstStyle/>
        <a:p>
          <a:pPr marL="114300" lvl="1" indent="0" algn="l" defTabSz="533400">
            <a:lnSpc>
              <a:spcPct val="90000"/>
            </a:lnSpc>
            <a:spcBef>
              <a:spcPct val="0"/>
            </a:spcBef>
            <a:spcAft>
              <a:spcPct val="20000"/>
            </a:spcAft>
          </a:pPr>
          <a:r>
            <a:rPr lang="en-US" sz="1600" i="1" kern="1200" dirty="0"/>
            <a:t> It has 4 entities – Customer, order, product, promotion ( which products have a discount from when to when)</a:t>
          </a:r>
        </a:p>
      </dgm:t>
    </dgm:pt>
    <dgm:pt modelId="{B6FE49E8-8895-4793-A50F-EE2CDF953680}" type="sibTrans" cxnId="{5F95A766-D485-4334-AC96-6927820DDD08}">
      <dgm:prSet/>
      <dgm:spPr/>
      <dgm:t>
        <a:bodyPr/>
        <a:lstStyle/>
        <a:p>
          <a:endParaRPr lang="en-US"/>
        </a:p>
      </dgm:t>
    </dgm:pt>
    <dgm:pt modelId="{FE888F0D-59B0-49A6-8082-17D7A76AAF48}" type="parTrans" cxnId="{5F95A766-D485-4334-AC96-6927820DDD08}">
      <dgm:prSet/>
      <dgm:spPr/>
      <dgm:t>
        <a:bodyPr/>
        <a:lstStyle/>
        <a:p>
          <a:endParaRPr lang="en-US"/>
        </a:p>
      </dgm:t>
    </dgm:pt>
    <dgm:pt modelId="{922ECC16-A7F7-4499-918D-C802482FA4D8}">
      <dgm:prSet custT="1"/>
      <dgm:spPr/>
      <dgm:t>
        <a:bodyPr/>
        <a:lstStyle/>
        <a:p>
          <a:pPr marL="114300" lvl="1" indent="0" algn="l" defTabSz="533400">
            <a:lnSpc>
              <a:spcPct val="90000"/>
            </a:lnSpc>
            <a:spcBef>
              <a:spcPct val="0"/>
            </a:spcBef>
            <a:spcAft>
              <a:spcPct val="20000"/>
            </a:spcAft>
          </a:pPr>
          <a:r>
            <a:rPr lang="en-US" sz="1600" i="1" kern="1200" dirty="0"/>
            <a:t> Customers can order/cancel a list of products (assume you have infinite inventory)</a:t>
          </a:r>
        </a:p>
      </dgm:t>
    </dgm:pt>
    <dgm:pt modelId="{86DA57C1-CE12-4EE1-A0DA-CD04FE701C36}" type="sibTrans" cxnId="{158C26D7-225A-4C69-8B83-F455DCF47433}">
      <dgm:prSet/>
      <dgm:spPr/>
      <dgm:t>
        <a:bodyPr/>
        <a:lstStyle/>
        <a:p>
          <a:endParaRPr lang="en-US"/>
        </a:p>
      </dgm:t>
    </dgm:pt>
    <dgm:pt modelId="{61D1497E-3E00-42E9-9DE2-5B563F8F6202}" type="parTrans" cxnId="{158C26D7-225A-4C69-8B83-F455DCF47433}">
      <dgm:prSet/>
      <dgm:spPr/>
      <dgm:t>
        <a:bodyPr/>
        <a:lstStyle/>
        <a:p>
          <a:endParaRPr lang="en-US"/>
        </a:p>
      </dgm:t>
    </dgm:pt>
    <dgm:pt modelId="{85D783C8-22B3-4D1F-801C-712FC40E5AAE}">
      <dgm:prSet custT="1"/>
      <dgm:spPr/>
      <dgm:t>
        <a:bodyPr/>
        <a:lstStyle/>
        <a:p>
          <a:pPr marL="114300" lvl="1" indent="0" algn="l" defTabSz="533400">
            <a:lnSpc>
              <a:spcPct val="90000"/>
            </a:lnSpc>
            <a:spcBef>
              <a:spcPct val="0"/>
            </a:spcBef>
            <a:spcAft>
              <a:spcPct val="20000"/>
            </a:spcAft>
          </a:pPr>
          <a:r>
            <a:rPr lang="en-US" sz="1600" i="1" kern="1200" dirty="0"/>
            <a:t> Promotions need to be applied appropriately on the orders</a:t>
          </a:r>
        </a:p>
      </dgm:t>
    </dgm:pt>
    <dgm:pt modelId="{1D96878B-97AB-4348-BDB2-236FBA30BC45}" type="sibTrans" cxnId="{817C3AAB-2CCC-4A65-975D-ED5325200EB4}">
      <dgm:prSet/>
      <dgm:spPr/>
      <dgm:t>
        <a:bodyPr/>
        <a:lstStyle/>
        <a:p>
          <a:endParaRPr lang="en-US"/>
        </a:p>
      </dgm:t>
    </dgm:pt>
    <dgm:pt modelId="{7988AC39-E291-4C13-A4EA-23C873C46373}" type="parTrans" cxnId="{817C3AAB-2CCC-4A65-975D-ED5325200EB4}">
      <dgm:prSet/>
      <dgm:spPr/>
      <dgm:t>
        <a:bodyPr/>
        <a:lstStyle/>
        <a:p>
          <a:endParaRPr lang="en-US"/>
        </a:p>
      </dgm:t>
    </dgm:pt>
    <dgm:pt modelId="{1C2C1E1C-5EAA-4944-B819-861D8FCD0A3B}">
      <dgm:prSet custT="1"/>
      <dgm:spPr/>
      <dgm:t>
        <a:bodyPr/>
        <a:lstStyle/>
        <a:p>
          <a:pPr marL="114300" lvl="1" indent="0" algn="l" defTabSz="533400">
            <a:lnSpc>
              <a:spcPct val="90000"/>
            </a:lnSpc>
            <a:spcBef>
              <a:spcPct val="0"/>
            </a:spcBef>
            <a:spcAft>
              <a:spcPct val="20000"/>
            </a:spcAft>
          </a:pPr>
          <a:r>
            <a:rPr lang="en-US" sz="1600" i="1" kern="1200" dirty="0"/>
            <a:t> Customers can search by their orders</a:t>
          </a:r>
        </a:p>
      </dgm:t>
    </dgm:pt>
    <dgm:pt modelId="{EA4A74F5-A191-4799-BEDF-14FCD2A7FC72}" type="sibTrans" cxnId="{72896E00-8714-4BE2-AA3C-AF8D2A831066}">
      <dgm:prSet/>
      <dgm:spPr/>
      <dgm:t>
        <a:bodyPr/>
        <a:lstStyle/>
        <a:p>
          <a:endParaRPr lang="en-US"/>
        </a:p>
      </dgm:t>
    </dgm:pt>
    <dgm:pt modelId="{CD421BD7-E23A-4327-B07A-8BBD1BAA5385}" type="parTrans" cxnId="{72896E00-8714-4BE2-AA3C-AF8D2A831066}">
      <dgm:prSet/>
      <dgm:spPr/>
      <dgm:t>
        <a:bodyPr/>
        <a:lstStyle/>
        <a:p>
          <a:endParaRPr lang="en-US"/>
        </a:p>
      </dgm:t>
    </dgm:pt>
    <dgm:pt modelId="{A8196BC7-806D-4781-84B1-5DDD86BB2392}">
      <dgm:prSet custT="1"/>
      <dgm:spPr/>
      <dgm:t>
        <a:bodyPr/>
        <a:lstStyle/>
        <a:p>
          <a:pPr marL="114300" lvl="1" indent="0" algn="l" defTabSz="533400">
            <a:lnSpc>
              <a:spcPct val="90000"/>
            </a:lnSpc>
            <a:spcBef>
              <a:spcPct val="0"/>
            </a:spcBef>
            <a:spcAft>
              <a:spcPct val="20000"/>
            </a:spcAft>
          </a:pPr>
          <a:r>
            <a:rPr lang="en-US" sz="1600" i="1" kern="1200" dirty="0"/>
            <a:t> Employees can add/remove/modify products, promotions</a:t>
          </a:r>
        </a:p>
      </dgm:t>
    </dgm:pt>
    <dgm:pt modelId="{C0B35E19-157B-42AA-9831-9F2B14A63790}" type="sibTrans" cxnId="{40D43DDA-FBD4-44BF-BBBF-A11B6EA94EF7}">
      <dgm:prSet/>
      <dgm:spPr/>
      <dgm:t>
        <a:bodyPr/>
        <a:lstStyle/>
        <a:p>
          <a:endParaRPr lang="en-US"/>
        </a:p>
      </dgm:t>
    </dgm:pt>
    <dgm:pt modelId="{31723888-81C2-4957-A2A7-C3E40E73BD68}" type="parTrans" cxnId="{40D43DDA-FBD4-44BF-BBBF-A11B6EA94EF7}">
      <dgm:prSet/>
      <dgm:spPr/>
      <dgm:t>
        <a:bodyPr/>
        <a:lstStyle/>
        <a:p>
          <a:endParaRPr lang="en-US"/>
        </a:p>
      </dgm:t>
    </dgm:pt>
    <dgm:pt modelId="{45D90791-CA08-4A9C-BF23-A5F32E8CA2AF}">
      <dgm:prSet custT="1"/>
      <dgm:spPr/>
      <dgm:t>
        <a:bodyPr/>
        <a:lstStyle/>
        <a:p>
          <a:pPr marL="114300" lvl="1" indent="-114300" algn="l" defTabSz="533400">
            <a:lnSpc>
              <a:spcPct val="90000"/>
            </a:lnSpc>
            <a:spcBef>
              <a:spcPct val="0"/>
            </a:spcBef>
            <a:spcAft>
              <a:spcPct val="20000"/>
            </a:spcAft>
            <a:buFontTx/>
            <a:buChar char="•"/>
          </a:pPr>
          <a:r>
            <a:rPr lang="en-US" sz="1600" kern="1200" dirty="0">
              <a:solidFill>
                <a:srgbClr val="757070">
                  <a:hueOff val="0"/>
                  <a:satOff val="0"/>
                  <a:lumOff val="0"/>
                  <a:alphaOff val="0"/>
                </a:srgbClr>
              </a:solidFill>
              <a:latin typeface="Calibri"/>
              <a:ea typeface="+mn-ea"/>
              <a:cs typeface="+mn-cs"/>
            </a:rPr>
            <a:t>T</a:t>
          </a:r>
          <a:r>
            <a:rPr lang="en-US" sz="1600" i="1" kern="1200" dirty="0"/>
            <a:t>he application is an e-com site</a:t>
          </a:r>
          <a:endParaRPr lang="en-US" sz="1600" kern="1200" dirty="0">
            <a:solidFill>
              <a:srgbClr val="757070">
                <a:hueOff val="0"/>
                <a:satOff val="0"/>
                <a:lumOff val="0"/>
                <a:alphaOff val="0"/>
              </a:srgbClr>
            </a:solidFill>
            <a:latin typeface="Calibri"/>
            <a:ea typeface="+mn-ea"/>
            <a:cs typeface="+mn-cs"/>
          </a:endParaRPr>
        </a:p>
      </dgm:t>
    </dgm:pt>
    <dgm:pt modelId="{A403D739-3367-497F-977E-974E5C77C732}" type="parTrans" cxnId="{1B888C78-69DF-45C8-AF70-2E72A310F4A9}">
      <dgm:prSet/>
      <dgm:spPr/>
    </dgm:pt>
    <dgm:pt modelId="{42C1070C-EDE5-4A47-B1C9-3DECDB2EF1B1}" type="sibTrans" cxnId="{1B888C78-69DF-45C8-AF70-2E72A310F4A9}">
      <dgm:prSet/>
      <dgm:spPr/>
    </dgm:pt>
    <dgm:pt modelId="{0A4390B1-51C0-4D6A-8E63-2784AF505AD5}" type="pres">
      <dgm:prSet presAssocID="{2BBB98CD-F07A-4D75-BA22-800A74F528A8}" presName="linear" presStyleCnt="0">
        <dgm:presLayoutVars>
          <dgm:animLvl val="lvl"/>
          <dgm:resizeHandles val="exact"/>
        </dgm:presLayoutVars>
      </dgm:prSet>
      <dgm:spPr/>
    </dgm:pt>
    <dgm:pt modelId="{66D5E3B7-AD69-4025-80E9-3838DE75D781}" type="pres">
      <dgm:prSet presAssocID="{16D0C510-BD6B-4470-99EE-B63B0CE1051E}" presName="parentText" presStyleLbl="node1" presStyleIdx="0" presStyleCnt="2" custScaleY="49178" custLinFactNeighborY="-10534">
        <dgm:presLayoutVars>
          <dgm:chMax val="0"/>
          <dgm:bulletEnabled val="1"/>
        </dgm:presLayoutVars>
      </dgm:prSet>
      <dgm:spPr/>
    </dgm:pt>
    <dgm:pt modelId="{AA89B326-56FA-412B-A913-C6B0240A88D6}" type="pres">
      <dgm:prSet presAssocID="{16D0C510-BD6B-4470-99EE-B63B0CE1051E}" presName="childText" presStyleLbl="revTx" presStyleIdx="0" presStyleCnt="1" custScaleY="129231" custLinFactNeighborX="1636" custLinFactNeighborY="-20487">
        <dgm:presLayoutVars>
          <dgm:bulletEnabled val="1"/>
        </dgm:presLayoutVars>
      </dgm:prSet>
      <dgm:spPr/>
    </dgm:pt>
    <dgm:pt modelId="{46D43071-C761-47B9-B977-3C1563DACDB5}" type="pres">
      <dgm:prSet presAssocID="{8322A42B-07BD-4DF0-A306-D40066CE7142}" presName="parentText" presStyleLbl="node1" presStyleIdx="1" presStyleCnt="2" custLinFactNeighborX="7944" custLinFactNeighborY="-825">
        <dgm:presLayoutVars>
          <dgm:chMax val="0"/>
          <dgm:bulletEnabled val="1"/>
        </dgm:presLayoutVars>
      </dgm:prSet>
      <dgm:spPr/>
    </dgm:pt>
  </dgm:ptLst>
  <dgm:cxnLst>
    <dgm:cxn modelId="{72896E00-8714-4BE2-AA3C-AF8D2A831066}" srcId="{16D0C510-BD6B-4470-99EE-B63B0CE1051E}" destId="{1C2C1E1C-5EAA-4944-B819-861D8FCD0A3B}" srcOrd="7" destOrd="0" parTransId="{CD421BD7-E23A-4327-B07A-8BBD1BAA5385}" sibTransId="{EA4A74F5-A191-4799-BEDF-14FCD2A7FC72}"/>
    <dgm:cxn modelId="{9B756511-5A99-4D88-BC13-111844757672}" type="presOf" srcId="{45D90791-CA08-4A9C-BF23-A5F32E8CA2AF}" destId="{AA89B326-56FA-412B-A913-C6B0240A88D6}" srcOrd="0" destOrd="3" presId="urn:microsoft.com/office/officeart/2005/8/layout/vList2"/>
    <dgm:cxn modelId="{929BB225-E568-4B32-9CF1-19434AEA29F3}" srcId="{16D0C510-BD6B-4470-99EE-B63B0CE1051E}" destId="{7FCAD7F6-93B5-4D82-9EED-F7A945C994FD}" srcOrd="2" destOrd="0" parTransId="{F93B2829-C6BD-44D4-AD7F-E3B4B4511E69}" sibTransId="{F40373A4-5F51-4DF6-933A-6DE05CED39B4}"/>
    <dgm:cxn modelId="{176B082B-21DE-47C1-94B9-3DCFB93D404A}" srcId="{16D0C510-BD6B-4470-99EE-B63B0CE1051E}" destId="{AF2B7047-FD2F-4B80-A250-31A09C935008}" srcOrd="10" destOrd="0" parTransId="{E1D0BB61-6566-4D7B-88B1-14DE9555976C}" sibTransId="{C10E858A-D3CF-4288-8B16-F9E3A2BF476C}"/>
    <dgm:cxn modelId="{34A5EA30-8F63-4E64-9489-163830DE3F71}" type="presOf" srcId="{16D0C510-BD6B-4470-99EE-B63B0CE1051E}" destId="{66D5E3B7-AD69-4025-80E9-3838DE75D781}" srcOrd="0" destOrd="0" presId="urn:microsoft.com/office/officeart/2005/8/layout/vList2"/>
    <dgm:cxn modelId="{1986AC37-69B8-4205-B39F-A0CE75239827}" type="presOf" srcId="{2ECBE21B-9874-4613-BFFE-6F90B941491C}" destId="{AA89B326-56FA-412B-A913-C6B0240A88D6}" srcOrd="0" destOrd="9" presId="urn:microsoft.com/office/officeart/2005/8/layout/vList2"/>
    <dgm:cxn modelId="{E4108B3E-7A09-4538-851B-1B6FBBBA28BE}" srcId="{16D0C510-BD6B-4470-99EE-B63B0CE1051E}" destId="{D592D9DF-A3D2-46E9-AAA8-8B7331F678D0}" srcOrd="11" destOrd="0" parTransId="{538E4D64-236C-440A-BC24-55D27A104EDF}" sibTransId="{1A790189-3EF9-48D6-908B-85240276522A}"/>
    <dgm:cxn modelId="{F250DA5C-C5BA-497A-B2A0-87DD01A11884}" type="presOf" srcId="{85D783C8-22B3-4D1F-801C-712FC40E5AAE}" destId="{AA89B326-56FA-412B-A913-C6B0240A88D6}" srcOrd="0" destOrd="6" presId="urn:microsoft.com/office/officeart/2005/8/layout/vList2"/>
    <dgm:cxn modelId="{5F95A766-D485-4334-AC96-6927820DDD08}" srcId="{16D0C510-BD6B-4470-99EE-B63B0CE1051E}" destId="{70631C57-9CB7-4B9D-B2DF-A7B0826A2188}" srcOrd="4" destOrd="0" parTransId="{FE888F0D-59B0-49A6-8082-17D7A76AAF48}" sibTransId="{B6FE49E8-8895-4793-A50F-EE2CDF953680}"/>
    <dgm:cxn modelId="{BE9F7D4E-7FB5-4ABB-9E50-A004BB4945AF}" srcId="{2BBB98CD-F07A-4D75-BA22-800A74F528A8}" destId="{16D0C510-BD6B-4470-99EE-B63B0CE1051E}" srcOrd="0" destOrd="0" parTransId="{ED152025-189D-4E3E-91D0-BAD13212638B}" sibTransId="{6EEFB336-AD28-446F-9DA7-96B6AE5B191F}"/>
    <dgm:cxn modelId="{B7D6EF76-829F-4AC2-AB80-C8370DF690D3}" type="presOf" srcId="{2BBB98CD-F07A-4D75-BA22-800A74F528A8}" destId="{0A4390B1-51C0-4D6A-8E63-2784AF505AD5}" srcOrd="0" destOrd="0" presId="urn:microsoft.com/office/officeart/2005/8/layout/vList2"/>
    <dgm:cxn modelId="{1B888C78-69DF-45C8-AF70-2E72A310F4A9}" srcId="{16D0C510-BD6B-4470-99EE-B63B0CE1051E}" destId="{45D90791-CA08-4A9C-BF23-A5F32E8CA2AF}" srcOrd="3" destOrd="0" parTransId="{A403D739-3367-497F-977E-974E5C77C732}" sibTransId="{42C1070C-EDE5-4A47-B1C9-3DECDB2EF1B1}"/>
    <dgm:cxn modelId="{77E7F37D-B686-4724-8FB7-237A64F7D17D}" type="presOf" srcId="{8322A42B-07BD-4DF0-A306-D40066CE7142}" destId="{46D43071-C761-47B9-B977-3C1563DACDB5}" srcOrd="0" destOrd="0" presId="urn:microsoft.com/office/officeart/2005/8/layout/vList2"/>
    <dgm:cxn modelId="{789C9082-50DF-41FE-8780-7251CFCE468D}" srcId="{2BBB98CD-F07A-4D75-BA22-800A74F528A8}" destId="{8322A42B-07BD-4DF0-A306-D40066CE7142}" srcOrd="1" destOrd="0" parTransId="{7D639C33-8B2E-4B24-B9FD-F2E8B6E5AFF9}" sibTransId="{FD7CBC7B-47CD-48E2-8212-B8D4861DB37E}"/>
    <dgm:cxn modelId="{8C99AB89-45CF-4659-8FE3-E057FFBFFF47}" type="presOf" srcId="{D592D9DF-A3D2-46E9-AAA8-8B7331F678D0}" destId="{AA89B326-56FA-412B-A913-C6B0240A88D6}" srcOrd="0" destOrd="11" presId="urn:microsoft.com/office/officeart/2005/8/layout/vList2"/>
    <dgm:cxn modelId="{AA0127A2-784B-4B16-8EC8-5906D51270FD}" type="presOf" srcId="{922ECC16-A7F7-4499-918D-C802482FA4D8}" destId="{AA89B326-56FA-412B-A913-C6B0240A88D6}" srcOrd="0" destOrd="5" presId="urn:microsoft.com/office/officeart/2005/8/layout/vList2"/>
    <dgm:cxn modelId="{6D6A27A6-1329-439A-B705-7F27426EA953}" type="presOf" srcId="{1C2C1E1C-5EAA-4944-B819-861D8FCD0A3B}" destId="{AA89B326-56FA-412B-A913-C6B0240A88D6}" srcOrd="0" destOrd="7" presId="urn:microsoft.com/office/officeart/2005/8/layout/vList2"/>
    <dgm:cxn modelId="{817C3AAB-2CCC-4A65-975D-ED5325200EB4}" srcId="{16D0C510-BD6B-4470-99EE-B63B0CE1051E}" destId="{85D783C8-22B3-4D1F-801C-712FC40E5AAE}" srcOrd="6" destOrd="0" parTransId="{7988AC39-E291-4C13-A4EA-23C873C46373}" sibTransId="{1D96878B-97AB-4348-BDB2-236FBA30BC45}"/>
    <dgm:cxn modelId="{838FB6AC-6994-404C-B972-160E46B8ED89}" type="presOf" srcId="{A8196BC7-806D-4781-84B1-5DDD86BB2392}" destId="{AA89B326-56FA-412B-A913-C6B0240A88D6}" srcOrd="0" destOrd="8" presId="urn:microsoft.com/office/officeart/2005/8/layout/vList2"/>
    <dgm:cxn modelId="{2FA2AAB0-8150-48C5-A07B-533D8BE97CE2}" srcId="{16D0C510-BD6B-4470-99EE-B63B0CE1051E}" destId="{C253C273-0272-4126-9694-F2061056344C}" srcOrd="0" destOrd="0" parTransId="{1C898B96-0A68-45BD-9935-F1C8DAEE2BF1}" sibTransId="{2FE63FA2-197C-4530-AFB7-6B2727E5E990}"/>
    <dgm:cxn modelId="{62BDA9BF-2548-4531-8064-EB6DB3314FD3}" srcId="{16D0C510-BD6B-4470-99EE-B63B0CE1051E}" destId="{DA487A88-E1A4-4BA7-A19F-78B5B5FF969C}" srcOrd="1" destOrd="0" parTransId="{7B2CBD2B-297D-4714-B156-90B2CC088809}" sibTransId="{4C331F8E-A10B-48EB-B1D7-86E681C456B5}"/>
    <dgm:cxn modelId="{C934F7CA-67E9-4B1C-AF45-4821E4B17F86}" type="presOf" srcId="{AF2B7047-FD2F-4B80-A250-31A09C935008}" destId="{AA89B326-56FA-412B-A913-C6B0240A88D6}" srcOrd="0" destOrd="10" presId="urn:microsoft.com/office/officeart/2005/8/layout/vList2"/>
    <dgm:cxn modelId="{A984B1CC-158C-403A-BCFB-520A223C6EA6}" srcId="{16D0C510-BD6B-4470-99EE-B63B0CE1051E}" destId="{2ECBE21B-9874-4613-BFFE-6F90B941491C}" srcOrd="9" destOrd="0" parTransId="{1734F38C-A433-48E2-A2B7-AA727A200FA6}" sibTransId="{CD53F07B-812B-45CD-B963-6EEC44339777}"/>
    <dgm:cxn modelId="{10954ACD-1C0F-4BB8-898A-9BAD1578D67F}" type="presOf" srcId="{DA487A88-E1A4-4BA7-A19F-78B5B5FF969C}" destId="{AA89B326-56FA-412B-A913-C6B0240A88D6}" srcOrd="0" destOrd="1" presId="urn:microsoft.com/office/officeart/2005/8/layout/vList2"/>
    <dgm:cxn modelId="{158C26D7-225A-4C69-8B83-F455DCF47433}" srcId="{16D0C510-BD6B-4470-99EE-B63B0CE1051E}" destId="{922ECC16-A7F7-4499-918D-C802482FA4D8}" srcOrd="5" destOrd="0" parTransId="{61D1497E-3E00-42E9-9DE2-5B563F8F6202}" sibTransId="{86DA57C1-CE12-4EE1-A0DA-CD04FE701C36}"/>
    <dgm:cxn modelId="{40D43DDA-FBD4-44BF-BBBF-A11B6EA94EF7}" srcId="{16D0C510-BD6B-4470-99EE-B63B0CE1051E}" destId="{A8196BC7-806D-4781-84B1-5DDD86BB2392}" srcOrd="8" destOrd="0" parTransId="{31723888-81C2-4957-A2A7-C3E40E73BD68}" sibTransId="{C0B35E19-157B-42AA-9831-9F2B14A63790}"/>
    <dgm:cxn modelId="{73C6ACDF-20A8-4A58-A607-2B2C2F8B6E88}" type="presOf" srcId="{70631C57-9CB7-4B9D-B2DF-A7B0826A2188}" destId="{AA89B326-56FA-412B-A913-C6B0240A88D6}" srcOrd="0" destOrd="4" presId="urn:microsoft.com/office/officeart/2005/8/layout/vList2"/>
    <dgm:cxn modelId="{C8E5B7E6-6566-4485-AD57-EC0679DFA357}" type="presOf" srcId="{C253C273-0272-4126-9694-F2061056344C}" destId="{AA89B326-56FA-412B-A913-C6B0240A88D6}" srcOrd="0" destOrd="0" presId="urn:microsoft.com/office/officeart/2005/8/layout/vList2"/>
    <dgm:cxn modelId="{F3B0E1F7-FE50-4238-9C2A-F933C8E7F0B8}" type="presOf" srcId="{7FCAD7F6-93B5-4D82-9EED-F7A945C994FD}" destId="{AA89B326-56FA-412B-A913-C6B0240A88D6}" srcOrd="0" destOrd="2" presId="urn:microsoft.com/office/officeart/2005/8/layout/vList2"/>
    <dgm:cxn modelId="{36D95409-B33C-4B81-9BC2-BEB1113EA701}" type="presParOf" srcId="{0A4390B1-51C0-4D6A-8E63-2784AF505AD5}" destId="{66D5E3B7-AD69-4025-80E9-3838DE75D781}" srcOrd="0" destOrd="0" presId="urn:microsoft.com/office/officeart/2005/8/layout/vList2"/>
    <dgm:cxn modelId="{74DF5A23-9BA6-4D7A-87C5-A436ECF75802}" type="presParOf" srcId="{0A4390B1-51C0-4D6A-8E63-2784AF505AD5}" destId="{AA89B326-56FA-412B-A913-C6B0240A88D6}" srcOrd="1" destOrd="0" presId="urn:microsoft.com/office/officeart/2005/8/layout/vList2"/>
    <dgm:cxn modelId="{2C2E874D-3E6C-49A2-8DD5-246DCDAD7C7B}" type="presParOf" srcId="{0A4390B1-51C0-4D6A-8E63-2784AF505AD5}" destId="{46D43071-C761-47B9-B977-3C1563DACDB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34941D-B1E8-4D8A-8775-B2C1AD43E147}" type="doc">
      <dgm:prSet loTypeId="urn:microsoft.com/office/officeart/2005/8/layout/process1" loCatId="process" qsTypeId="urn:microsoft.com/office/officeart/2005/8/quickstyle/simple1" qsCatId="simple" csTypeId="urn:microsoft.com/office/officeart/2005/8/colors/accent5_3" csCatId="accent5"/>
      <dgm:spPr/>
      <dgm:t>
        <a:bodyPr/>
        <a:lstStyle/>
        <a:p>
          <a:endParaRPr lang="en-US"/>
        </a:p>
      </dgm:t>
    </dgm:pt>
    <dgm:pt modelId="{FA95F8B1-526C-4BCC-AFC0-17CEEB2E8472}">
      <dgm:prSet/>
      <dgm:spPr/>
      <dgm:t>
        <a:bodyPr/>
        <a:lstStyle/>
        <a:p>
          <a:r>
            <a:rPr lang="en-US"/>
            <a:t>Week 1</a:t>
          </a:r>
        </a:p>
      </dgm:t>
    </dgm:pt>
    <dgm:pt modelId="{29D879FA-E1B0-4DF6-8F3C-E896323BA1BF}" type="parTrans" cxnId="{7A33F38A-996B-4D5B-8B13-09283C827CCE}">
      <dgm:prSet/>
      <dgm:spPr/>
      <dgm:t>
        <a:bodyPr/>
        <a:lstStyle/>
        <a:p>
          <a:endParaRPr lang="en-US"/>
        </a:p>
      </dgm:t>
    </dgm:pt>
    <dgm:pt modelId="{8AA7DF35-4F20-4637-9D6D-1F6C57B5FFA9}" type="sibTrans" cxnId="{7A33F38A-996B-4D5B-8B13-09283C827CCE}">
      <dgm:prSet/>
      <dgm:spPr/>
      <dgm:t>
        <a:bodyPr/>
        <a:lstStyle/>
        <a:p>
          <a:endParaRPr lang="en-US"/>
        </a:p>
      </dgm:t>
    </dgm:pt>
    <dgm:pt modelId="{7D11A016-1512-44B0-952A-28B4C0B7C3C6}">
      <dgm:prSet/>
      <dgm:spPr/>
      <dgm:t>
        <a:bodyPr/>
        <a:lstStyle/>
        <a:p>
          <a:r>
            <a:rPr lang="en-US"/>
            <a:t>Week 2</a:t>
          </a:r>
        </a:p>
      </dgm:t>
    </dgm:pt>
    <dgm:pt modelId="{45400A0D-AC18-4BFF-BF89-708AD398E809}" type="parTrans" cxnId="{560019D2-871F-47A7-BD7F-CE37A4602F30}">
      <dgm:prSet/>
      <dgm:spPr/>
      <dgm:t>
        <a:bodyPr/>
        <a:lstStyle/>
        <a:p>
          <a:endParaRPr lang="en-US"/>
        </a:p>
      </dgm:t>
    </dgm:pt>
    <dgm:pt modelId="{1BBAD2BE-B0DE-4ADD-870F-E425CF071855}" type="sibTrans" cxnId="{560019D2-871F-47A7-BD7F-CE37A4602F30}">
      <dgm:prSet/>
      <dgm:spPr/>
      <dgm:t>
        <a:bodyPr/>
        <a:lstStyle/>
        <a:p>
          <a:endParaRPr lang="en-US"/>
        </a:p>
      </dgm:t>
    </dgm:pt>
    <dgm:pt modelId="{6A12EFBD-94CE-4FA3-B7C2-573F6AD9C509}">
      <dgm:prSet/>
      <dgm:spPr/>
      <dgm:t>
        <a:bodyPr/>
        <a:lstStyle/>
        <a:p>
          <a:r>
            <a:rPr lang="en-US"/>
            <a:t>Week 3</a:t>
          </a:r>
        </a:p>
      </dgm:t>
    </dgm:pt>
    <dgm:pt modelId="{6232D191-8997-4444-AFA7-3D44B39D76AA}" type="parTrans" cxnId="{D40B9653-0B0C-4B4B-B3FE-9A9BA507CF1F}">
      <dgm:prSet/>
      <dgm:spPr/>
      <dgm:t>
        <a:bodyPr/>
        <a:lstStyle/>
        <a:p>
          <a:endParaRPr lang="en-US"/>
        </a:p>
      </dgm:t>
    </dgm:pt>
    <dgm:pt modelId="{66A35C16-8840-491F-BAE5-63298CBB6F50}" type="sibTrans" cxnId="{D40B9653-0B0C-4B4B-B3FE-9A9BA507CF1F}">
      <dgm:prSet/>
      <dgm:spPr/>
      <dgm:t>
        <a:bodyPr/>
        <a:lstStyle/>
        <a:p>
          <a:endParaRPr lang="en-US"/>
        </a:p>
      </dgm:t>
    </dgm:pt>
    <dgm:pt modelId="{E734E7E0-2D7D-4A0D-910B-1DFAFC2C89D5}">
      <dgm:prSet/>
      <dgm:spPr/>
      <dgm:t>
        <a:bodyPr/>
        <a:lstStyle/>
        <a:p>
          <a:r>
            <a:rPr lang="en-US"/>
            <a:t>Week 4</a:t>
          </a:r>
        </a:p>
      </dgm:t>
    </dgm:pt>
    <dgm:pt modelId="{51D7EFBA-A1F5-4AB3-98F6-F39FA3D8F86D}" type="parTrans" cxnId="{7823F37A-D94C-4D89-B703-C21BF9BD118C}">
      <dgm:prSet/>
      <dgm:spPr/>
      <dgm:t>
        <a:bodyPr/>
        <a:lstStyle/>
        <a:p>
          <a:endParaRPr lang="en-US"/>
        </a:p>
      </dgm:t>
    </dgm:pt>
    <dgm:pt modelId="{4AAA8ABE-B6C1-4FDE-A018-F53168B220CD}" type="sibTrans" cxnId="{7823F37A-D94C-4D89-B703-C21BF9BD118C}">
      <dgm:prSet/>
      <dgm:spPr/>
      <dgm:t>
        <a:bodyPr/>
        <a:lstStyle/>
        <a:p>
          <a:endParaRPr lang="en-US"/>
        </a:p>
      </dgm:t>
    </dgm:pt>
    <dgm:pt modelId="{4C10245C-20F6-4CE4-BF3F-1C8BBFBD5FAA}">
      <dgm:prSet/>
      <dgm:spPr/>
      <dgm:t>
        <a:bodyPr/>
        <a:lstStyle/>
        <a:p>
          <a:r>
            <a:rPr lang="en-US"/>
            <a:t>Week 5</a:t>
          </a:r>
        </a:p>
      </dgm:t>
    </dgm:pt>
    <dgm:pt modelId="{699DF582-444E-4CB1-9477-7096E417FEA5}" type="parTrans" cxnId="{60903647-E422-433D-BDF6-D95373CD6F15}">
      <dgm:prSet/>
      <dgm:spPr/>
      <dgm:t>
        <a:bodyPr/>
        <a:lstStyle/>
        <a:p>
          <a:endParaRPr lang="en-US"/>
        </a:p>
      </dgm:t>
    </dgm:pt>
    <dgm:pt modelId="{E08208BC-7E3E-4EAD-82D4-36A7D9068CD9}" type="sibTrans" cxnId="{60903647-E422-433D-BDF6-D95373CD6F15}">
      <dgm:prSet/>
      <dgm:spPr/>
      <dgm:t>
        <a:bodyPr/>
        <a:lstStyle/>
        <a:p>
          <a:endParaRPr lang="en-US"/>
        </a:p>
      </dgm:t>
    </dgm:pt>
    <dgm:pt modelId="{9D28CF79-1EA6-40CB-AE28-1DCD12BA3B5B}">
      <dgm:prSet/>
      <dgm:spPr/>
      <dgm:t>
        <a:bodyPr/>
        <a:lstStyle/>
        <a:p>
          <a:r>
            <a:rPr lang="en-US"/>
            <a:t>Week 6</a:t>
          </a:r>
        </a:p>
      </dgm:t>
    </dgm:pt>
    <dgm:pt modelId="{05C6F827-8FF0-4502-B6A8-485F5C908B98}" type="parTrans" cxnId="{DCAE2304-977E-4DDB-A4A4-7749E0E2766B}">
      <dgm:prSet/>
      <dgm:spPr/>
      <dgm:t>
        <a:bodyPr/>
        <a:lstStyle/>
        <a:p>
          <a:endParaRPr lang="en-US"/>
        </a:p>
      </dgm:t>
    </dgm:pt>
    <dgm:pt modelId="{A8F604F9-05A8-4AD3-8C16-51FADD4FB17D}" type="sibTrans" cxnId="{DCAE2304-977E-4DDB-A4A4-7749E0E2766B}">
      <dgm:prSet/>
      <dgm:spPr/>
      <dgm:t>
        <a:bodyPr/>
        <a:lstStyle/>
        <a:p>
          <a:endParaRPr lang="en-US"/>
        </a:p>
      </dgm:t>
    </dgm:pt>
    <dgm:pt modelId="{38FD256A-1572-4D10-B2C5-B1D42A274CC2}">
      <dgm:prSet/>
      <dgm:spPr/>
      <dgm:t>
        <a:bodyPr/>
        <a:lstStyle/>
        <a:p>
          <a:r>
            <a:rPr lang="en-US"/>
            <a:t>Week 7</a:t>
          </a:r>
        </a:p>
      </dgm:t>
    </dgm:pt>
    <dgm:pt modelId="{EFBCC14C-47C1-458D-982D-2A2EDE9B6048}" type="parTrans" cxnId="{E2750B53-5A7F-4716-A8E7-38F0CE7DCA27}">
      <dgm:prSet/>
      <dgm:spPr/>
      <dgm:t>
        <a:bodyPr/>
        <a:lstStyle/>
        <a:p>
          <a:endParaRPr lang="en-US"/>
        </a:p>
      </dgm:t>
    </dgm:pt>
    <dgm:pt modelId="{D609FD48-1DCF-492B-B2EF-C3B7187B2BDC}" type="sibTrans" cxnId="{E2750B53-5A7F-4716-A8E7-38F0CE7DCA27}">
      <dgm:prSet/>
      <dgm:spPr/>
      <dgm:t>
        <a:bodyPr/>
        <a:lstStyle/>
        <a:p>
          <a:endParaRPr lang="en-US"/>
        </a:p>
      </dgm:t>
    </dgm:pt>
    <dgm:pt modelId="{C192D043-CC99-4EC4-BE27-471FBE8199C1}">
      <dgm:prSet/>
      <dgm:spPr/>
      <dgm:t>
        <a:bodyPr/>
        <a:lstStyle/>
        <a:p>
          <a:r>
            <a:rPr lang="en-US"/>
            <a:t>Week 8, 9</a:t>
          </a:r>
        </a:p>
      </dgm:t>
    </dgm:pt>
    <dgm:pt modelId="{62A20415-DE34-4C58-AACD-38E9794A52DC}" type="parTrans" cxnId="{7EC1B267-BB3F-4079-A6FD-0685C178CB3A}">
      <dgm:prSet/>
      <dgm:spPr/>
      <dgm:t>
        <a:bodyPr/>
        <a:lstStyle/>
        <a:p>
          <a:endParaRPr lang="en-US"/>
        </a:p>
      </dgm:t>
    </dgm:pt>
    <dgm:pt modelId="{D4DEB434-4227-4F2D-91E9-B928F00D325A}" type="sibTrans" cxnId="{7EC1B267-BB3F-4079-A6FD-0685C178CB3A}">
      <dgm:prSet/>
      <dgm:spPr/>
      <dgm:t>
        <a:bodyPr/>
        <a:lstStyle/>
        <a:p>
          <a:endParaRPr lang="en-US"/>
        </a:p>
      </dgm:t>
    </dgm:pt>
    <dgm:pt modelId="{B56488A4-09AF-4FF8-B6D1-15B547F3A369}" type="pres">
      <dgm:prSet presAssocID="{D034941D-B1E8-4D8A-8775-B2C1AD43E147}" presName="Name0" presStyleCnt="0">
        <dgm:presLayoutVars>
          <dgm:dir/>
          <dgm:resizeHandles val="exact"/>
        </dgm:presLayoutVars>
      </dgm:prSet>
      <dgm:spPr/>
    </dgm:pt>
    <dgm:pt modelId="{D4488EE8-569A-4C76-884A-3BEF209DC5C6}" type="pres">
      <dgm:prSet presAssocID="{FA95F8B1-526C-4BCC-AFC0-17CEEB2E8472}" presName="node" presStyleLbl="node1" presStyleIdx="0" presStyleCnt="8">
        <dgm:presLayoutVars>
          <dgm:bulletEnabled val="1"/>
        </dgm:presLayoutVars>
      </dgm:prSet>
      <dgm:spPr/>
    </dgm:pt>
    <dgm:pt modelId="{B220EE54-11FE-4127-9F4F-6C1AEFB24312}" type="pres">
      <dgm:prSet presAssocID="{8AA7DF35-4F20-4637-9D6D-1F6C57B5FFA9}" presName="sibTrans" presStyleLbl="sibTrans2D1" presStyleIdx="0" presStyleCnt="7"/>
      <dgm:spPr/>
    </dgm:pt>
    <dgm:pt modelId="{6E93719E-F2E3-4F20-9D11-59D9D9913075}" type="pres">
      <dgm:prSet presAssocID="{8AA7DF35-4F20-4637-9D6D-1F6C57B5FFA9}" presName="connectorText" presStyleLbl="sibTrans2D1" presStyleIdx="0" presStyleCnt="7"/>
      <dgm:spPr/>
    </dgm:pt>
    <dgm:pt modelId="{17F90E85-86AA-42B5-B464-81D75CF402C3}" type="pres">
      <dgm:prSet presAssocID="{7D11A016-1512-44B0-952A-28B4C0B7C3C6}" presName="node" presStyleLbl="node1" presStyleIdx="1" presStyleCnt="8">
        <dgm:presLayoutVars>
          <dgm:bulletEnabled val="1"/>
        </dgm:presLayoutVars>
      </dgm:prSet>
      <dgm:spPr/>
    </dgm:pt>
    <dgm:pt modelId="{841D4F21-AF87-4EF6-BAD8-6BCDAD5E9FEB}" type="pres">
      <dgm:prSet presAssocID="{1BBAD2BE-B0DE-4ADD-870F-E425CF071855}" presName="sibTrans" presStyleLbl="sibTrans2D1" presStyleIdx="1" presStyleCnt="7"/>
      <dgm:spPr/>
    </dgm:pt>
    <dgm:pt modelId="{35C979A6-B17C-4117-8E76-273B62A7388C}" type="pres">
      <dgm:prSet presAssocID="{1BBAD2BE-B0DE-4ADD-870F-E425CF071855}" presName="connectorText" presStyleLbl="sibTrans2D1" presStyleIdx="1" presStyleCnt="7"/>
      <dgm:spPr/>
    </dgm:pt>
    <dgm:pt modelId="{0021B693-EF35-400E-822D-6F05DC7C5E13}" type="pres">
      <dgm:prSet presAssocID="{6A12EFBD-94CE-4FA3-B7C2-573F6AD9C509}" presName="node" presStyleLbl="node1" presStyleIdx="2" presStyleCnt="8">
        <dgm:presLayoutVars>
          <dgm:bulletEnabled val="1"/>
        </dgm:presLayoutVars>
      </dgm:prSet>
      <dgm:spPr/>
    </dgm:pt>
    <dgm:pt modelId="{279D3A8D-719E-4E61-B605-4D5D4D7024EB}" type="pres">
      <dgm:prSet presAssocID="{66A35C16-8840-491F-BAE5-63298CBB6F50}" presName="sibTrans" presStyleLbl="sibTrans2D1" presStyleIdx="2" presStyleCnt="7"/>
      <dgm:spPr/>
    </dgm:pt>
    <dgm:pt modelId="{D7C94D5B-6413-42F0-BF89-14A5E18816DC}" type="pres">
      <dgm:prSet presAssocID="{66A35C16-8840-491F-BAE5-63298CBB6F50}" presName="connectorText" presStyleLbl="sibTrans2D1" presStyleIdx="2" presStyleCnt="7"/>
      <dgm:spPr/>
    </dgm:pt>
    <dgm:pt modelId="{C0D650CB-F6B3-4DF3-8A7B-3FB2BFF58926}" type="pres">
      <dgm:prSet presAssocID="{E734E7E0-2D7D-4A0D-910B-1DFAFC2C89D5}" presName="node" presStyleLbl="node1" presStyleIdx="3" presStyleCnt="8">
        <dgm:presLayoutVars>
          <dgm:bulletEnabled val="1"/>
        </dgm:presLayoutVars>
      </dgm:prSet>
      <dgm:spPr/>
    </dgm:pt>
    <dgm:pt modelId="{3BB20A17-3641-49C2-8A38-7C39A1B585F7}" type="pres">
      <dgm:prSet presAssocID="{4AAA8ABE-B6C1-4FDE-A018-F53168B220CD}" presName="sibTrans" presStyleLbl="sibTrans2D1" presStyleIdx="3" presStyleCnt="7"/>
      <dgm:spPr/>
    </dgm:pt>
    <dgm:pt modelId="{E7FDAED6-390C-4D2C-BF4C-0C62795FDB80}" type="pres">
      <dgm:prSet presAssocID="{4AAA8ABE-B6C1-4FDE-A018-F53168B220CD}" presName="connectorText" presStyleLbl="sibTrans2D1" presStyleIdx="3" presStyleCnt="7"/>
      <dgm:spPr/>
    </dgm:pt>
    <dgm:pt modelId="{634E77B6-E459-4466-B275-6BBAAAA77A5A}" type="pres">
      <dgm:prSet presAssocID="{4C10245C-20F6-4CE4-BF3F-1C8BBFBD5FAA}" presName="node" presStyleLbl="node1" presStyleIdx="4" presStyleCnt="8">
        <dgm:presLayoutVars>
          <dgm:bulletEnabled val="1"/>
        </dgm:presLayoutVars>
      </dgm:prSet>
      <dgm:spPr/>
    </dgm:pt>
    <dgm:pt modelId="{4570E52D-0AC4-45F6-9E45-9FAA1DF0E16B}" type="pres">
      <dgm:prSet presAssocID="{E08208BC-7E3E-4EAD-82D4-36A7D9068CD9}" presName="sibTrans" presStyleLbl="sibTrans2D1" presStyleIdx="4" presStyleCnt="7"/>
      <dgm:spPr/>
    </dgm:pt>
    <dgm:pt modelId="{AA5BB8CD-4B1E-4064-86FB-E9A6624F93EC}" type="pres">
      <dgm:prSet presAssocID="{E08208BC-7E3E-4EAD-82D4-36A7D9068CD9}" presName="connectorText" presStyleLbl="sibTrans2D1" presStyleIdx="4" presStyleCnt="7"/>
      <dgm:spPr/>
    </dgm:pt>
    <dgm:pt modelId="{1D2D1D5C-5915-4CF5-A2B6-C2F9DA1B3751}" type="pres">
      <dgm:prSet presAssocID="{9D28CF79-1EA6-40CB-AE28-1DCD12BA3B5B}" presName="node" presStyleLbl="node1" presStyleIdx="5" presStyleCnt="8">
        <dgm:presLayoutVars>
          <dgm:bulletEnabled val="1"/>
        </dgm:presLayoutVars>
      </dgm:prSet>
      <dgm:spPr/>
    </dgm:pt>
    <dgm:pt modelId="{BFA41252-12A5-4C1B-9C35-6DF5AB57BEBA}" type="pres">
      <dgm:prSet presAssocID="{A8F604F9-05A8-4AD3-8C16-51FADD4FB17D}" presName="sibTrans" presStyleLbl="sibTrans2D1" presStyleIdx="5" presStyleCnt="7"/>
      <dgm:spPr/>
    </dgm:pt>
    <dgm:pt modelId="{23AE41DC-D96E-4860-A79C-B9F8F61D1303}" type="pres">
      <dgm:prSet presAssocID="{A8F604F9-05A8-4AD3-8C16-51FADD4FB17D}" presName="connectorText" presStyleLbl="sibTrans2D1" presStyleIdx="5" presStyleCnt="7"/>
      <dgm:spPr/>
    </dgm:pt>
    <dgm:pt modelId="{C1C6C1AE-CB13-4710-BECF-220B5837B820}" type="pres">
      <dgm:prSet presAssocID="{38FD256A-1572-4D10-B2C5-B1D42A274CC2}" presName="node" presStyleLbl="node1" presStyleIdx="6" presStyleCnt="8">
        <dgm:presLayoutVars>
          <dgm:bulletEnabled val="1"/>
        </dgm:presLayoutVars>
      </dgm:prSet>
      <dgm:spPr/>
    </dgm:pt>
    <dgm:pt modelId="{CECB42B2-F674-4A1B-81A7-39888C0EACB9}" type="pres">
      <dgm:prSet presAssocID="{D609FD48-1DCF-492B-B2EF-C3B7187B2BDC}" presName="sibTrans" presStyleLbl="sibTrans2D1" presStyleIdx="6" presStyleCnt="7"/>
      <dgm:spPr/>
    </dgm:pt>
    <dgm:pt modelId="{E9CF956F-A441-4F60-A648-005A5AC3AC37}" type="pres">
      <dgm:prSet presAssocID="{D609FD48-1DCF-492B-B2EF-C3B7187B2BDC}" presName="connectorText" presStyleLbl="sibTrans2D1" presStyleIdx="6" presStyleCnt="7"/>
      <dgm:spPr/>
    </dgm:pt>
    <dgm:pt modelId="{5604EB01-0E23-49C1-B8C1-FB032C568EC2}" type="pres">
      <dgm:prSet presAssocID="{C192D043-CC99-4EC4-BE27-471FBE8199C1}" presName="node" presStyleLbl="node1" presStyleIdx="7" presStyleCnt="8">
        <dgm:presLayoutVars>
          <dgm:bulletEnabled val="1"/>
        </dgm:presLayoutVars>
      </dgm:prSet>
      <dgm:spPr/>
    </dgm:pt>
  </dgm:ptLst>
  <dgm:cxnLst>
    <dgm:cxn modelId="{DCAE2304-977E-4DDB-A4A4-7749E0E2766B}" srcId="{D034941D-B1E8-4D8A-8775-B2C1AD43E147}" destId="{9D28CF79-1EA6-40CB-AE28-1DCD12BA3B5B}" srcOrd="5" destOrd="0" parTransId="{05C6F827-8FF0-4502-B6A8-485F5C908B98}" sibTransId="{A8F604F9-05A8-4AD3-8C16-51FADD4FB17D}"/>
    <dgm:cxn modelId="{C6ED3B0F-E82F-4C08-B703-8892BBB1CE15}" type="presOf" srcId="{38FD256A-1572-4D10-B2C5-B1D42A274CC2}" destId="{C1C6C1AE-CB13-4710-BECF-220B5837B820}" srcOrd="0" destOrd="0" presId="urn:microsoft.com/office/officeart/2005/8/layout/process1"/>
    <dgm:cxn modelId="{95597310-C8B2-4560-925B-C4F3DB88E05F}" type="presOf" srcId="{9D28CF79-1EA6-40CB-AE28-1DCD12BA3B5B}" destId="{1D2D1D5C-5915-4CF5-A2B6-C2F9DA1B3751}" srcOrd="0" destOrd="0" presId="urn:microsoft.com/office/officeart/2005/8/layout/process1"/>
    <dgm:cxn modelId="{25CBC723-09BB-469B-8D0B-8ECB2654F488}" type="presOf" srcId="{D034941D-B1E8-4D8A-8775-B2C1AD43E147}" destId="{B56488A4-09AF-4FF8-B6D1-15B547F3A369}" srcOrd="0" destOrd="0" presId="urn:microsoft.com/office/officeart/2005/8/layout/process1"/>
    <dgm:cxn modelId="{1BCD302A-A86D-42BA-9F0B-EE56FA26DBCD}" type="presOf" srcId="{7D11A016-1512-44B0-952A-28B4C0B7C3C6}" destId="{17F90E85-86AA-42B5-B464-81D75CF402C3}" srcOrd="0" destOrd="0" presId="urn:microsoft.com/office/officeart/2005/8/layout/process1"/>
    <dgm:cxn modelId="{F374955E-4CEC-48FF-9CB6-34C7961840CB}" type="presOf" srcId="{1BBAD2BE-B0DE-4ADD-870F-E425CF071855}" destId="{35C979A6-B17C-4117-8E76-273B62A7388C}" srcOrd="1" destOrd="0" presId="urn:microsoft.com/office/officeart/2005/8/layout/process1"/>
    <dgm:cxn modelId="{EE10EE5F-70AF-4BEB-988C-65C6A25F1B4D}" type="presOf" srcId="{E08208BC-7E3E-4EAD-82D4-36A7D9068CD9}" destId="{4570E52D-0AC4-45F6-9E45-9FAA1DF0E16B}" srcOrd="0" destOrd="0" presId="urn:microsoft.com/office/officeart/2005/8/layout/process1"/>
    <dgm:cxn modelId="{60903647-E422-433D-BDF6-D95373CD6F15}" srcId="{D034941D-B1E8-4D8A-8775-B2C1AD43E147}" destId="{4C10245C-20F6-4CE4-BF3F-1C8BBFBD5FAA}" srcOrd="4" destOrd="0" parTransId="{699DF582-444E-4CB1-9477-7096E417FEA5}" sibTransId="{E08208BC-7E3E-4EAD-82D4-36A7D9068CD9}"/>
    <dgm:cxn modelId="{7EC1B267-BB3F-4079-A6FD-0685C178CB3A}" srcId="{D034941D-B1E8-4D8A-8775-B2C1AD43E147}" destId="{C192D043-CC99-4EC4-BE27-471FBE8199C1}" srcOrd="7" destOrd="0" parTransId="{62A20415-DE34-4C58-AACD-38E9794A52DC}" sibTransId="{D4DEB434-4227-4F2D-91E9-B928F00D325A}"/>
    <dgm:cxn modelId="{14967C68-FEF7-4072-86D1-556002B8164F}" type="presOf" srcId="{4C10245C-20F6-4CE4-BF3F-1C8BBFBD5FAA}" destId="{634E77B6-E459-4466-B275-6BBAAAA77A5A}" srcOrd="0" destOrd="0" presId="urn:microsoft.com/office/officeart/2005/8/layout/process1"/>
    <dgm:cxn modelId="{19A5356B-6C2C-49C2-9B7F-552223703A0A}" type="presOf" srcId="{A8F604F9-05A8-4AD3-8C16-51FADD4FB17D}" destId="{BFA41252-12A5-4C1B-9C35-6DF5AB57BEBA}" srcOrd="0" destOrd="0" presId="urn:microsoft.com/office/officeart/2005/8/layout/process1"/>
    <dgm:cxn modelId="{E2750B53-5A7F-4716-A8E7-38F0CE7DCA27}" srcId="{D034941D-B1E8-4D8A-8775-B2C1AD43E147}" destId="{38FD256A-1572-4D10-B2C5-B1D42A274CC2}" srcOrd="6" destOrd="0" parTransId="{EFBCC14C-47C1-458D-982D-2A2EDE9B6048}" sibTransId="{D609FD48-1DCF-492B-B2EF-C3B7187B2BDC}"/>
    <dgm:cxn modelId="{D40B9653-0B0C-4B4B-B3FE-9A9BA507CF1F}" srcId="{D034941D-B1E8-4D8A-8775-B2C1AD43E147}" destId="{6A12EFBD-94CE-4FA3-B7C2-573F6AD9C509}" srcOrd="2" destOrd="0" parTransId="{6232D191-8997-4444-AFA7-3D44B39D76AA}" sibTransId="{66A35C16-8840-491F-BAE5-63298CBB6F50}"/>
    <dgm:cxn modelId="{CD474D57-6DB2-4727-9E48-4E30FF43B28A}" type="presOf" srcId="{FA95F8B1-526C-4BCC-AFC0-17CEEB2E8472}" destId="{D4488EE8-569A-4C76-884A-3BEF209DC5C6}" srcOrd="0" destOrd="0" presId="urn:microsoft.com/office/officeart/2005/8/layout/process1"/>
    <dgm:cxn modelId="{41BFEE5A-B5F3-48A2-913D-2B5F3874C1F5}" type="presOf" srcId="{A8F604F9-05A8-4AD3-8C16-51FADD4FB17D}" destId="{23AE41DC-D96E-4860-A79C-B9F8F61D1303}" srcOrd="1" destOrd="0" presId="urn:microsoft.com/office/officeart/2005/8/layout/process1"/>
    <dgm:cxn modelId="{7823F37A-D94C-4D89-B703-C21BF9BD118C}" srcId="{D034941D-B1E8-4D8A-8775-B2C1AD43E147}" destId="{E734E7E0-2D7D-4A0D-910B-1DFAFC2C89D5}" srcOrd="3" destOrd="0" parTransId="{51D7EFBA-A1F5-4AB3-98F6-F39FA3D8F86D}" sibTransId="{4AAA8ABE-B6C1-4FDE-A018-F53168B220CD}"/>
    <dgm:cxn modelId="{667F687B-95E0-4CE8-BB72-46AF5CA3EF29}" type="presOf" srcId="{E08208BC-7E3E-4EAD-82D4-36A7D9068CD9}" destId="{AA5BB8CD-4B1E-4064-86FB-E9A6624F93EC}" srcOrd="1" destOrd="0" presId="urn:microsoft.com/office/officeart/2005/8/layout/process1"/>
    <dgm:cxn modelId="{8590457F-1640-4786-B836-DC35EC30C3A1}" type="presOf" srcId="{66A35C16-8840-491F-BAE5-63298CBB6F50}" destId="{D7C94D5B-6413-42F0-BF89-14A5E18816DC}" srcOrd="1" destOrd="0" presId="urn:microsoft.com/office/officeart/2005/8/layout/process1"/>
    <dgm:cxn modelId="{EC09EF89-B72D-4A25-AAAD-B15CCE83D6AA}" type="presOf" srcId="{D609FD48-1DCF-492B-B2EF-C3B7187B2BDC}" destId="{E9CF956F-A441-4F60-A648-005A5AC3AC37}" srcOrd="1" destOrd="0" presId="urn:microsoft.com/office/officeart/2005/8/layout/process1"/>
    <dgm:cxn modelId="{7A33F38A-996B-4D5B-8B13-09283C827CCE}" srcId="{D034941D-B1E8-4D8A-8775-B2C1AD43E147}" destId="{FA95F8B1-526C-4BCC-AFC0-17CEEB2E8472}" srcOrd="0" destOrd="0" parTransId="{29D879FA-E1B0-4DF6-8F3C-E896323BA1BF}" sibTransId="{8AA7DF35-4F20-4637-9D6D-1F6C57B5FFA9}"/>
    <dgm:cxn modelId="{61E1A38D-C03F-4854-BDFD-4610CD6298DD}" type="presOf" srcId="{66A35C16-8840-491F-BAE5-63298CBB6F50}" destId="{279D3A8D-719E-4E61-B605-4D5D4D7024EB}" srcOrd="0" destOrd="0" presId="urn:microsoft.com/office/officeart/2005/8/layout/process1"/>
    <dgm:cxn modelId="{D2E1FB8F-FB64-428D-80BD-A11A4CF512B1}" type="presOf" srcId="{4AAA8ABE-B6C1-4FDE-A018-F53168B220CD}" destId="{E7FDAED6-390C-4D2C-BF4C-0C62795FDB80}" srcOrd="1" destOrd="0" presId="urn:microsoft.com/office/officeart/2005/8/layout/process1"/>
    <dgm:cxn modelId="{1BB42C95-951F-4DE3-A52C-91A9759D7E59}" type="presOf" srcId="{D609FD48-1DCF-492B-B2EF-C3B7187B2BDC}" destId="{CECB42B2-F674-4A1B-81A7-39888C0EACB9}" srcOrd="0" destOrd="0" presId="urn:microsoft.com/office/officeart/2005/8/layout/process1"/>
    <dgm:cxn modelId="{ADD9D09B-55A2-4BB8-8C9F-DD09DFDD47D7}" type="presOf" srcId="{6A12EFBD-94CE-4FA3-B7C2-573F6AD9C509}" destId="{0021B693-EF35-400E-822D-6F05DC7C5E13}" srcOrd="0" destOrd="0" presId="urn:microsoft.com/office/officeart/2005/8/layout/process1"/>
    <dgm:cxn modelId="{31327FB2-0C19-4DA2-BEB3-FE43271495E2}" type="presOf" srcId="{8AA7DF35-4F20-4637-9D6D-1F6C57B5FFA9}" destId="{B220EE54-11FE-4127-9F4F-6C1AEFB24312}" srcOrd="0" destOrd="0" presId="urn:microsoft.com/office/officeart/2005/8/layout/process1"/>
    <dgm:cxn modelId="{0BF664B5-99D0-46C0-86D6-ECE738173085}" type="presOf" srcId="{E734E7E0-2D7D-4A0D-910B-1DFAFC2C89D5}" destId="{C0D650CB-F6B3-4DF3-8A7B-3FB2BFF58926}" srcOrd="0" destOrd="0" presId="urn:microsoft.com/office/officeart/2005/8/layout/process1"/>
    <dgm:cxn modelId="{22E777C1-DF37-4F14-B287-740E81C75868}" type="presOf" srcId="{4AAA8ABE-B6C1-4FDE-A018-F53168B220CD}" destId="{3BB20A17-3641-49C2-8A38-7C39A1B585F7}" srcOrd="0" destOrd="0" presId="urn:microsoft.com/office/officeart/2005/8/layout/process1"/>
    <dgm:cxn modelId="{560019D2-871F-47A7-BD7F-CE37A4602F30}" srcId="{D034941D-B1E8-4D8A-8775-B2C1AD43E147}" destId="{7D11A016-1512-44B0-952A-28B4C0B7C3C6}" srcOrd="1" destOrd="0" parTransId="{45400A0D-AC18-4BFF-BF89-708AD398E809}" sibTransId="{1BBAD2BE-B0DE-4ADD-870F-E425CF071855}"/>
    <dgm:cxn modelId="{4E9103E5-9633-4CCF-971C-D145299CA87C}" type="presOf" srcId="{C192D043-CC99-4EC4-BE27-471FBE8199C1}" destId="{5604EB01-0E23-49C1-B8C1-FB032C568EC2}" srcOrd="0" destOrd="0" presId="urn:microsoft.com/office/officeart/2005/8/layout/process1"/>
    <dgm:cxn modelId="{0A299DE9-76E0-4850-9852-85A31F4E78BB}" type="presOf" srcId="{8AA7DF35-4F20-4637-9D6D-1F6C57B5FFA9}" destId="{6E93719E-F2E3-4F20-9D11-59D9D9913075}" srcOrd="1" destOrd="0" presId="urn:microsoft.com/office/officeart/2005/8/layout/process1"/>
    <dgm:cxn modelId="{7D35D0F3-C85C-44E7-A838-5430693D0758}" type="presOf" srcId="{1BBAD2BE-B0DE-4ADD-870F-E425CF071855}" destId="{841D4F21-AF87-4EF6-BAD8-6BCDAD5E9FEB}" srcOrd="0" destOrd="0" presId="urn:microsoft.com/office/officeart/2005/8/layout/process1"/>
    <dgm:cxn modelId="{E3A45AB7-D22F-4522-B991-93D41A396CCA}" type="presParOf" srcId="{B56488A4-09AF-4FF8-B6D1-15B547F3A369}" destId="{D4488EE8-569A-4C76-884A-3BEF209DC5C6}" srcOrd="0" destOrd="0" presId="urn:microsoft.com/office/officeart/2005/8/layout/process1"/>
    <dgm:cxn modelId="{D6FAF7F2-15CA-4B90-9B96-2A16ECAAF8D1}" type="presParOf" srcId="{B56488A4-09AF-4FF8-B6D1-15B547F3A369}" destId="{B220EE54-11FE-4127-9F4F-6C1AEFB24312}" srcOrd="1" destOrd="0" presId="urn:microsoft.com/office/officeart/2005/8/layout/process1"/>
    <dgm:cxn modelId="{DCC5AA6F-755A-45BB-822A-C6E1151F0B97}" type="presParOf" srcId="{B220EE54-11FE-4127-9F4F-6C1AEFB24312}" destId="{6E93719E-F2E3-4F20-9D11-59D9D9913075}" srcOrd="0" destOrd="0" presId="urn:microsoft.com/office/officeart/2005/8/layout/process1"/>
    <dgm:cxn modelId="{0DE7AF32-A736-4703-A7A9-F25BF47E54C1}" type="presParOf" srcId="{B56488A4-09AF-4FF8-B6D1-15B547F3A369}" destId="{17F90E85-86AA-42B5-B464-81D75CF402C3}" srcOrd="2" destOrd="0" presId="urn:microsoft.com/office/officeart/2005/8/layout/process1"/>
    <dgm:cxn modelId="{A3F48B54-BB25-4C2A-81E5-1A54EA0D54B1}" type="presParOf" srcId="{B56488A4-09AF-4FF8-B6D1-15B547F3A369}" destId="{841D4F21-AF87-4EF6-BAD8-6BCDAD5E9FEB}" srcOrd="3" destOrd="0" presId="urn:microsoft.com/office/officeart/2005/8/layout/process1"/>
    <dgm:cxn modelId="{C8AAD3AC-F27B-4545-B783-CD1BBFB2711C}" type="presParOf" srcId="{841D4F21-AF87-4EF6-BAD8-6BCDAD5E9FEB}" destId="{35C979A6-B17C-4117-8E76-273B62A7388C}" srcOrd="0" destOrd="0" presId="urn:microsoft.com/office/officeart/2005/8/layout/process1"/>
    <dgm:cxn modelId="{11B0CC41-8400-41D6-8766-C3612FF35A23}" type="presParOf" srcId="{B56488A4-09AF-4FF8-B6D1-15B547F3A369}" destId="{0021B693-EF35-400E-822D-6F05DC7C5E13}" srcOrd="4" destOrd="0" presId="urn:microsoft.com/office/officeart/2005/8/layout/process1"/>
    <dgm:cxn modelId="{7738850C-B57E-4539-91E7-6CD7CD8CF73E}" type="presParOf" srcId="{B56488A4-09AF-4FF8-B6D1-15B547F3A369}" destId="{279D3A8D-719E-4E61-B605-4D5D4D7024EB}" srcOrd="5" destOrd="0" presId="urn:microsoft.com/office/officeart/2005/8/layout/process1"/>
    <dgm:cxn modelId="{C69CB3B9-BD67-4CE0-A3E1-3769B1EE606C}" type="presParOf" srcId="{279D3A8D-719E-4E61-B605-4D5D4D7024EB}" destId="{D7C94D5B-6413-42F0-BF89-14A5E18816DC}" srcOrd="0" destOrd="0" presId="urn:microsoft.com/office/officeart/2005/8/layout/process1"/>
    <dgm:cxn modelId="{34C27388-94F5-4CC8-BC13-CC9291E70089}" type="presParOf" srcId="{B56488A4-09AF-4FF8-B6D1-15B547F3A369}" destId="{C0D650CB-F6B3-4DF3-8A7B-3FB2BFF58926}" srcOrd="6" destOrd="0" presId="urn:microsoft.com/office/officeart/2005/8/layout/process1"/>
    <dgm:cxn modelId="{EAD61C43-DB55-48D8-9076-D8F241C41114}" type="presParOf" srcId="{B56488A4-09AF-4FF8-B6D1-15B547F3A369}" destId="{3BB20A17-3641-49C2-8A38-7C39A1B585F7}" srcOrd="7" destOrd="0" presId="urn:microsoft.com/office/officeart/2005/8/layout/process1"/>
    <dgm:cxn modelId="{CAC92D13-4747-4280-9820-8C78A63F70C8}" type="presParOf" srcId="{3BB20A17-3641-49C2-8A38-7C39A1B585F7}" destId="{E7FDAED6-390C-4D2C-BF4C-0C62795FDB80}" srcOrd="0" destOrd="0" presId="urn:microsoft.com/office/officeart/2005/8/layout/process1"/>
    <dgm:cxn modelId="{8EF1E110-60C8-4843-A7A1-CA8EF887F4D3}" type="presParOf" srcId="{B56488A4-09AF-4FF8-B6D1-15B547F3A369}" destId="{634E77B6-E459-4466-B275-6BBAAAA77A5A}" srcOrd="8" destOrd="0" presId="urn:microsoft.com/office/officeart/2005/8/layout/process1"/>
    <dgm:cxn modelId="{21B1F034-2D48-4FD5-9CD3-293FAE32D111}" type="presParOf" srcId="{B56488A4-09AF-4FF8-B6D1-15B547F3A369}" destId="{4570E52D-0AC4-45F6-9E45-9FAA1DF0E16B}" srcOrd="9" destOrd="0" presId="urn:microsoft.com/office/officeart/2005/8/layout/process1"/>
    <dgm:cxn modelId="{C3DB26AE-F597-4792-B71C-6D3718585758}" type="presParOf" srcId="{4570E52D-0AC4-45F6-9E45-9FAA1DF0E16B}" destId="{AA5BB8CD-4B1E-4064-86FB-E9A6624F93EC}" srcOrd="0" destOrd="0" presId="urn:microsoft.com/office/officeart/2005/8/layout/process1"/>
    <dgm:cxn modelId="{79E9B865-5843-4C3D-B785-3672F7DB1552}" type="presParOf" srcId="{B56488A4-09AF-4FF8-B6D1-15B547F3A369}" destId="{1D2D1D5C-5915-4CF5-A2B6-C2F9DA1B3751}" srcOrd="10" destOrd="0" presId="urn:microsoft.com/office/officeart/2005/8/layout/process1"/>
    <dgm:cxn modelId="{0DED3AD7-AA92-41D0-96D1-F56C14B114AC}" type="presParOf" srcId="{B56488A4-09AF-4FF8-B6D1-15B547F3A369}" destId="{BFA41252-12A5-4C1B-9C35-6DF5AB57BEBA}" srcOrd="11" destOrd="0" presId="urn:microsoft.com/office/officeart/2005/8/layout/process1"/>
    <dgm:cxn modelId="{BEA955C4-7867-4CD5-805C-BB6EC3C222D7}" type="presParOf" srcId="{BFA41252-12A5-4C1B-9C35-6DF5AB57BEBA}" destId="{23AE41DC-D96E-4860-A79C-B9F8F61D1303}" srcOrd="0" destOrd="0" presId="urn:microsoft.com/office/officeart/2005/8/layout/process1"/>
    <dgm:cxn modelId="{429D6761-207A-483B-91DE-88BDF7F7A86B}" type="presParOf" srcId="{B56488A4-09AF-4FF8-B6D1-15B547F3A369}" destId="{C1C6C1AE-CB13-4710-BECF-220B5837B820}" srcOrd="12" destOrd="0" presId="urn:microsoft.com/office/officeart/2005/8/layout/process1"/>
    <dgm:cxn modelId="{E3FBB5D9-1323-43F9-AEE4-3A50389929BC}" type="presParOf" srcId="{B56488A4-09AF-4FF8-B6D1-15B547F3A369}" destId="{CECB42B2-F674-4A1B-81A7-39888C0EACB9}" srcOrd="13" destOrd="0" presId="urn:microsoft.com/office/officeart/2005/8/layout/process1"/>
    <dgm:cxn modelId="{BA6943E9-1329-444B-A911-868D91C1F7C3}" type="presParOf" srcId="{CECB42B2-F674-4A1B-81A7-39888C0EACB9}" destId="{E9CF956F-A441-4F60-A648-005A5AC3AC37}" srcOrd="0" destOrd="0" presId="urn:microsoft.com/office/officeart/2005/8/layout/process1"/>
    <dgm:cxn modelId="{E48BC6A5-F79D-4F3A-A5F5-FCB8DC9E2ADE}" type="presParOf" srcId="{B56488A4-09AF-4FF8-B6D1-15B547F3A369}" destId="{5604EB01-0E23-49C1-B8C1-FB032C568EC2}" srcOrd="1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2C82A0E-03FD-41FB-ACAF-8737ECFCCA72}" type="doc">
      <dgm:prSet loTypeId="urn:microsoft.com/office/officeart/2005/8/layout/hProcess3" loCatId="process" qsTypeId="urn:microsoft.com/office/officeart/2005/8/quickstyle/simple1" qsCatId="simple" csTypeId="urn:microsoft.com/office/officeart/2005/8/colors/colorful5" csCatId="colorful"/>
      <dgm:spPr/>
      <dgm:t>
        <a:bodyPr/>
        <a:lstStyle/>
        <a:p>
          <a:endParaRPr lang="en-US"/>
        </a:p>
      </dgm:t>
    </dgm:pt>
    <dgm:pt modelId="{1D9DD77E-37CF-47C6-A20C-C791E922695F}">
      <dgm:prSet/>
      <dgm:spPr/>
      <dgm:t>
        <a:bodyPr/>
        <a:lstStyle/>
        <a:p>
          <a:r>
            <a:rPr lang="en-US" dirty="0">
              <a:solidFill>
                <a:schemeClr val="bg1"/>
              </a:solidFill>
            </a:rPr>
            <a:t>Individual Project</a:t>
          </a:r>
        </a:p>
      </dgm:t>
    </dgm:pt>
    <dgm:pt modelId="{1307B1EA-5F41-448E-BE6E-C5341B6A570D}" type="parTrans" cxnId="{CD3C83C4-76EC-487F-B020-50DED0969974}">
      <dgm:prSet/>
      <dgm:spPr/>
      <dgm:t>
        <a:bodyPr/>
        <a:lstStyle/>
        <a:p>
          <a:endParaRPr lang="en-US"/>
        </a:p>
      </dgm:t>
    </dgm:pt>
    <dgm:pt modelId="{0C7D0CF3-6DD7-4090-A264-DE704F73DBD0}" type="sibTrans" cxnId="{CD3C83C4-76EC-487F-B020-50DED0969974}">
      <dgm:prSet/>
      <dgm:spPr/>
      <dgm:t>
        <a:bodyPr/>
        <a:lstStyle/>
        <a:p>
          <a:endParaRPr lang="en-US"/>
        </a:p>
      </dgm:t>
    </dgm:pt>
    <dgm:pt modelId="{476F1809-BFA9-405D-BC7C-6CADC31155A7}" type="pres">
      <dgm:prSet presAssocID="{72C82A0E-03FD-41FB-ACAF-8737ECFCCA72}" presName="Name0" presStyleCnt="0">
        <dgm:presLayoutVars>
          <dgm:dir/>
          <dgm:animLvl val="lvl"/>
          <dgm:resizeHandles val="exact"/>
        </dgm:presLayoutVars>
      </dgm:prSet>
      <dgm:spPr/>
    </dgm:pt>
    <dgm:pt modelId="{12627078-CF2B-4EE6-8F80-BAAAD578CF23}" type="pres">
      <dgm:prSet presAssocID="{72C82A0E-03FD-41FB-ACAF-8737ECFCCA72}" presName="dummy" presStyleCnt="0"/>
      <dgm:spPr/>
    </dgm:pt>
    <dgm:pt modelId="{B8275D10-0870-4876-9113-D1DBE642B6B2}" type="pres">
      <dgm:prSet presAssocID="{72C82A0E-03FD-41FB-ACAF-8737ECFCCA72}" presName="linH" presStyleCnt="0"/>
      <dgm:spPr/>
    </dgm:pt>
    <dgm:pt modelId="{856EE0FD-E259-43EB-9F18-3E7B92588E44}" type="pres">
      <dgm:prSet presAssocID="{72C82A0E-03FD-41FB-ACAF-8737ECFCCA72}" presName="padding1" presStyleCnt="0"/>
      <dgm:spPr/>
    </dgm:pt>
    <dgm:pt modelId="{0FAB7765-9A2B-4DCA-8E76-6DF92911E3FC}" type="pres">
      <dgm:prSet presAssocID="{1D9DD77E-37CF-47C6-A20C-C791E922695F}" presName="linV" presStyleCnt="0"/>
      <dgm:spPr/>
    </dgm:pt>
    <dgm:pt modelId="{E8B32BA3-639E-401A-BCCA-6D52571227F2}" type="pres">
      <dgm:prSet presAssocID="{1D9DD77E-37CF-47C6-A20C-C791E922695F}" presName="spVertical1" presStyleCnt="0"/>
      <dgm:spPr/>
    </dgm:pt>
    <dgm:pt modelId="{0D4148FA-A443-43F3-9A5E-C4C7BC6970BB}" type="pres">
      <dgm:prSet presAssocID="{1D9DD77E-37CF-47C6-A20C-C791E922695F}" presName="parTx" presStyleLbl="revTx" presStyleIdx="0" presStyleCnt="1">
        <dgm:presLayoutVars>
          <dgm:chMax val="0"/>
          <dgm:chPref val="0"/>
          <dgm:bulletEnabled val="1"/>
        </dgm:presLayoutVars>
      </dgm:prSet>
      <dgm:spPr/>
    </dgm:pt>
    <dgm:pt modelId="{C29A188C-F15C-4944-83F3-23E2D5FCE65F}" type="pres">
      <dgm:prSet presAssocID="{1D9DD77E-37CF-47C6-A20C-C791E922695F}" presName="spVertical2" presStyleCnt="0"/>
      <dgm:spPr/>
    </dgm:pt>
    <dgm:pt modelId="{77BAD2EF-6163-4278-AD92-2D2AF5C5FD14}" type="pres">
      <dgm:prSet presAssocID="{1D9DD77E-37CF-47C6-A20C-C791E922695F}" presName="spVertical3" presStyleCnt="0"/>
      <dgm:spPr/>
    </dgm:pt>
    <dgm:pt modelId="{B55E3E32-B7DB-4F29-97DF-1988F4E5CAC0}" type="pres">
      <dgm:prSet presAssocID="{72C82A0E-03FD-41FB-ACAF-8737ECFCCA72}" presName="padding2" presStyleCnt="0"/>
      <dgm:spPr/>
    </dgm:pt>
    <dgm:pt modelId="{B6BA7A6A-5C8D-4FED-BF3B-56552168FE0A}" type="pres">
      <dgm:prSet presAssocID="{72C82A0E-03FD-41FB-ACAF-8737ECFCCA72}" presName="negArrow" presStyleCnt="0"/>
      <dgm:spPr/>
    </dgm:pt>
    <dgm:pt modelId="{8910EE11-0B9B-4750-A76D-1D6809602C43}" type="pres">
      <dgm:prSet presAssocID="{72C82A0E-03FD-41FB-ACAF-8737ECFCCA72}" presName="backgroundArrow" presStyleLbl="node1" presStyleIdx="0" presStyleCnt="1" custLinFactNeighborY="-6619"/>
      <dgm:spPr/>
    </dgm:pt>
  </dgm:ptLst>
  <dgm:cxnLst>
    <dgm:cxn modelId="{77A4A98F-6BF3-4AE9-B3F8-0F84A7864496}" type="presOf" srcId="{72C82A0E-03FD-41FB-ACAF-8737ECFCCA72}" destId="{476F1809-BFA9-405D-BC7C-6CADC31155A7}" srcOrd="0" destOrd="0" presId="urn:microsoft.com/office/officeart/2005/8/layout/hProcess3"/>
    <dgm:cxn modelId="{CD3C83C4-76EC-487F-B020-50DED0969974}" srcId="{72C82A0E-03FD-41FB-ACAF-8737ECFCCA72}" destId="{1D9DD77E-37CF-47C6-A20C-C791E922695F}" srcOrd="0" destOrd="0" parTransId="{1307B1EA-5F41-448E-BE6E-C5341B6A570D}" sibTransId="{0C7D0CF3-6DD7-4090-A264-DE704F73DBD0}"/>
    <dgm:cxn modelId="{EBBE07E0-FA24-4E93-A174-33786D61EADF}" type="presOf" srcId="{1D9DD77E-37CF-47C6-A20C-C791E922695F}" destId="{0D4148FA-A443-43F3-9A5E-C4C7BC6970BB}" srcOrd="0" destOrd="0" presId="urn:microsoft.com/office/officeart/2005/8/layout/hProcess3"/>
    <dgm:cxn modelId="{27C4968D-844D-457F-99E4-75F19F1ADD04}" type="presParOf" srcId="{476F1809-BFA9-405D-BC7C-6CADC31155A7}" destId="{12627078-CF2B-4EE6-8F80-BAAAD578CF23}" srcOrd="0" destOrd="0" presId="urn:microsoft.com/office/officeart/2005/8/layout/hProcess3"/>
    <dgm:cxn modelId="{1958238E-65D3-446B-A335-79105D651A67}" type="presParOf" srcId="{476F1809-BFA9-405D-BC7C-6CADC31155A7}" destId="{B8275D10-0870-4876-9113-D1DBE642B6B2}" srcOrd="1" destOrd="0" presId="urn:microsoft.com/office/officeart/2005/8/layout/hProcess3"/>
    <dgm:cxn modelId="{B5C1D87D-ABCF-4323-B632-09992068F743}" type="presParOf" srcId="{B8275D10-0870-4876-9113-D1DBE642B6B2}" destId="{856EE0FD-E259-43EB-9F18-3E7B92588E44}" srcOrd="0" destOrd="0" presId="urn:microsoft.com/office/officeart/2005/8/layout/hProcess3"/>
    <dgm:cxn modelId="{124950E5-393C-4128-BB1E-42F25D232709}" type="presParOf" srcId="{B8275D10-0870-4876-9113-D1DBE642B6B2}" destId="{0FAB7765-9A2B-4DCA-8E76-6DF92911E3FC}" srcOrd="1" destOrd="0" presId="urn:microsoft.com/office/officeart/2005/8/layout/hProcess3"/>
    <dgm:cxn modelId="{6E6121AB-166D-4BA5-8CF3-D26F40D724C5}" type="presParOf" srcId="{0FAB7765-9A2B-4DCA-8E76-6DF92911E3FC}" destId="{E8B32BA3-639E-401A-BCCA-6D52571227F2}" srcOrd="0" destOrd="0" presId="urn:microsoft.com/office/officeart/2005/8/layout/hProcess3"/>
    <dgm:cxn modelId="{9E1E10E1-18AC-4A50-B194-7837ED0D776E}" type="presParOf" srcId="{0FAB7765-9A2B-4DCA-8E76-6DF92911E3FC}" destId="{0D4148FA-A443-43F3-9A5E-C4C7BC6970BB}" srcOrd="1" destOrd="0" presId="urn:microsoft.com/office/officeart/2005/8/layout/hProcess3"/>
    <dgm:cxn modelId="{0D62832A-CC51-4A79-A196-6F23C2EBCD1B}" type="presParOf" srcId="{0FAB7765-9A2B-4DCA-8E76-6DF92911E3FC}" destId="{C29A188C-F15C-4944-83F3-23E2D5FCE65F}" srcOrd="2" destOrd="0" presId="urn:microsoft.com/office/officeart/2005/8/layout/hProcess3"/>
    <dgm:cxn modelId="{77BE7DE6-3D78-43E7-A68B-BE747CB825F1}" type="presParOf" srcId="{0FAB7765-9A2B-4DCA-8E76-6DF92911E3FC}" destId="{77BAD2EF-6163-4278-AD92-2D2AF5C5FD14}" srcOrd="3" destOrd="0" presId="urn:microsoft.com/office/officeart/2005/8/layout/hProcess3"/>
    <dgm:cxn modelId="{D874F813-6F28-4A2D-92A8-B0919DF49BEE}" type="presParOf" srcId="{B8275D10-0870-4876-9113-D1DBE642B6B2}" destId="{B55E3E32-B7DB-4F29-97DF-1988F4E5CAC0}" srcOrd="2" destOrd="0" presId="urn:microsoft.com/office/officeart/2005/8/layout/hProcess3"/>
    <dgm:cxn modelId="{1AC916D1-832E-42B6-BDF3-C967E2D93EDF}" type="presParOf" srcId="{B8275D10-0870-4876-9113-D1DBE642B6B2}" destId="{B6BA7A6A-5C8D-4FED-BF3B-56552168FE0A}" srcOrd="3" destOrd="0" presId="urn:microsoft.com/office/officeart/2005/8/layout/hProcess3"/>
    <dgm:cxn modelId="{10FEEBB1-1FD4-4DF5-83F4-49B72E0EA3A6}" type="presParOf" srcId="{B8275D10-0870-4876-9113-D1DBE642B6B2}" destId="{8910EE11-0B9B-4750-A76D-1D6809602C43}" srcOrd="4" destOrd="0" presId="urn:microsoft.com/office/officeart/2005/8/layout/h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C82A0E-03FD-41FB-ACAF-8737ECFCCA72}" type="doc">
      <dgm:prSet loTypeId="urn:microsoft.com/office/officeart/2005/8/layout/hProcess3" loCatId="process" qsTypeId="urn:microsoft.com/office/officeart/2005/8/quickstyle/simple1" qsCatId="simple" csTypeId="urn:microsoft.com/office/officeart/2005/8/colors/colorful5" csCatId="colorful" phldr="1"/>
      <dgm:spPr/>
      <dgm:t>
        <a:bodyPr/>
        <a:lstStyle/>
        <a:p>
          <a:endParaRPr lang="en-US"/>
        </a:p>
      </dgm:t>
    </dgm:pt>
    <dgm:pt modelId="{1D9DD77E-37CF-47C6-A20C-C791E922695F}">
      <dgm:prSet/>
      <dgm:spPr/>
      <dgm:t>
        <a:bodyPr/>
        <a:lstStyle/>
        <a:p>
          <a:r>
            <a:rPr lang="en-US" dirty="0">
              <a:solidFill>
                <a:schemeClr val="bg1"/>
              </a:solidFill>
            </a:rPr>
            <a:t>Team Project</a:t>
          </a:r>
        </a:p>
      </dgm:t>
    </dgm:pt>
    <dgm:pt modelId="{1307B1EA-5F41-448E-BE6E-C5341B6A570D}" type="parTrans" cxnId="{CD3C83C4-76EC-487F-B020-50DED0969974}">
      <dgm:prSet/>
      <dgm:spPr/>
      <dgm:t>
        <a:bodyPr/>
        <a:lstStyle/>
        <a:p>
          <a:endParaRPr lang="en-US"/>
        </a:p>
      </dgm:t>
    </dgm:pt>
    <dgm:pt modelId="{0C7D0CF3-6DD7-4090-A264-DE704F73DBD0}" type="sibTrans" cxnId="{CD3C83C4-76EC-487F-B020-50DED0969974}">
      <dgm:prSet/>
      <dgm:spPr/>
      <dgm:t>
        <a:bodyPr/>
        <a:lstStyle/>
        <a:p>
          <a:endParaRPr lang="en-US"/>
        </a:p>
      </dgm:t>
    </dgm:pt>
    <dgm:pt modelId="{476F1809-BFA9-405D-BC7C-6CADC31155A7}" type="pres">
      <dgm:prSet presAssocID="{72C82A0E-03FD-41FB-ACAF-8737ECFCCA72}" presName="Name0" presStyleCnt="0">
        <dgm:presLayoutVars>
          <dgm:dir/>
          <dgm:animLvl val="lvl"/>
          <dgm:resizeHandles val="exact"/>
        </dgm:presLayoutVars>
      </dgm:prSet>
      <dgm:spPr/>
    </dgm:pt>
    <dgm:pt modelId="{12627078-CF2B-4EE6-8F80-BAAAD578CF23}" type="pres">
      <dgm:prSet presAssocID="{72C82A0E-03FD-41FB-ACAF-8737ECFCCA72}" presName="dummy" presStyleCnt="0"/>
      <dgm:spPr/>
    </dgm:pt>
    <dgm:pt modelId="{B8275D10-0870-4876-9113-D1DBE642B6B2}" type="pres">
      <dgm:prSet presAssocID="{72C82A0E-03FD-41FB-ACAF-8737ECFCCA72}" presName="linH" presStyleCnt="0"/>
      <dgm:spPr/>
    </dgm:pt>
    <dgm:pt modelId="{856EE0FD-E259-43EB-9F18-3E7B92588E44}" type="pres">
      <dgm:prSet presAssocID="{72C82A0E-03FD-41FB-ACAF-8737ECFCCA72}" presName="padding1" presStyleCnt="0"/>
      <dgm:spPr/>
    </dgm:pt>
    <dgm:pt modelId="{0FAB7765-9A2B-4DCA-8E76-6DF92911E3FC}" type="pres">
      <dgm:prSet presAssocID="{1D9DD77E-37CF-47C6-A20C-C791E922695F}" presName="linV" presStyleCnt="0"/>
      <dgm:spPr/>
    </dgm:pt>
    <dgm:pt modelId="{E8B32BA3-639E-401A-BCCA-6D52571227F2}" type="pres">
      <dgm:prSet presAssocID="{1D9DD77E-37CF-47C6-A20C-C791E922695F}" presName="spVertical1" presStyleCnt="0"/>
      <dgm:spPr/>
    </dgm:pt>
    <dgm:pt modelId="{0D4148FA-A443-43F3-9A5E-C4C7BC6970BB}" type="pres">
      <dgm:prSet presAssocID="{1D9DD77E-37CF-47C6-A20C-C791E922695F}" presName="parTx" presStyleLbl="revTx" presStyleIdx="0" presStyleCnt="1">
        <dgm:presLayoutVars>
          <dgm:chMax val="0"/>
          <dgm:chPref val="0"/>
          <dgm:bulletEnabled val="1"/>
        </dgm:presLayoutVars>
      </dgm:prSet>
      <dgm:spPr/>
    </dgm:pt>
    <dgm:pt modelId="{C29A188C-F15C-4944-83F3-23E2D5FCE65F}" type="pres">
      <dgm:prSet presAssocID="{1D9DD77E-37CF-47C6-A20C-C791E922695F}" presName="spVertical2" presStyleCnt="0"/>
      <dgm:spPr/>
    </dgm:pt>
    <dgm:pt modelId="{77BAD2EF-6163-4278-AD92-2D2AF5C5FD14}" type="pres">
      <dgm:prSet presAssocID="{1D9DD77E-37CF-47C6-A20C-C791E922695F}" presName="spVertical3" presStyleCnt="0"/>
      <dgm:spPr/>
    </dgm:pt>
    <dgm:pt modelId="{B55E3E32-B7DB-4F29-97DF-1988F4E5CAC0}" type="pres">
      <dgm:prSet presAssocID="{72C82A0E-03FD-41FB-ACAF-8737ECFCCA72}" presName="padding2" presStyleCnt="0"/>
      <dgm:spPr/>
    </dgm:pt>
    <dgm:pt modelId="{B6BA7A6A-5C8D-4FED-BF3B-56552168FE0A}" type="pres">
      <dgm:prSet presAssocID="{72C82A0E-03FD-41FB-ACAF-8737ECFCCA72}" presName="negArrow" presStyleCnt="0"/>
      <dgm:spPr/>
    </dgm:pt>
    <dgm:pt modelId="{8910EE11-0B9B-4750-A76D-1D6809602C43}" type="pres">
      <dgm:prSet presAssocID="{72C82A0E-03FD-41FB-ACAF-8737ECFCCA72}" presName="backgroundArrow" presStyleLbl="node1" presStyleIdx="0" presStyleCnt="1" custLinFactX="2143" custLinFactNeighborX="100000" custLinFactNeighborY="-4877"/>
      <dgm:spPr/>
    </dgm:pt>
  </dgm:ptLst>
  <dgm:cxnLst>
    <dgm:cxn modelId="{77A4A98F-6BF3-4AE9-B3F8-0F84A7864496}" type="presOf" srcId="{72C82A0E-03FD-41FB-ACAF-8737ECFCCA72}" destId="{476F1809-BFA9-405D-BC7C-6CADC31155A7}" srcOrd="0" destOrd="0" presId="urn:microsoft.com/office/officeart/2005/8/layout/hProcess3"/>
    <dgm:cxn modelId="{CD3C83C4-76EC-487F-B020-50DED0969974}" srcId="{72C82A0E-03FD-41FB-ACAF-8737ECFCCA72}" destId="{1D9DD77E-37CF-47C6-A20C-C791E922695F}" srcOrd="0" destOrd="0" parTransId="{1307B1EA-5F41-448E-BE6E-C5341B6A570D}" sibTransId="{0C7D0CF3-6DD7-4090-A264-DE704F73DBD0}"/>
    <dgm:cxn modelId="{EBBE07E0-FA24-4E93-A174-33786D61EADF}" type="presOf" srcId="{1D9DD77E-37CF-47C6-A20C-C791E922695F}" destId="{0D4148FA-A443-43F3-9A5E-C4C7BC6970BB}" srcOrd="0" destOrd="0" presId="urn:microsoft.com/office/officeart/2005/8/layout/hProcess3"/>
    <dgm:cxn modelId="{27C4968D-844D-457F-99E4-75F19F1ADD04}" type="presParOf" srcId="{476F1809-BFA9-405D-BC7C-6CADC31155A7}" destId="{12627078-CF2B-4EE6-8F80-BAAAD578CF23}" srcOrd="0" destOrd="0" presId="urn:microsoft.com/office/officeart/2005/8/layout/hProcess3"/>
    <dgm:cxn modelId="{1958238E-65D3-446B-A335-79105D651A67}" type="presParOf" srcId="{476F1809-BFA9-405D-BC7C-6CADC31155A7}" destId="{B8275D10-0870-4876-9113-D1DBE642B6B2}" srcOrd="1" destOrd="0" presId="urn:microsoft.com/office/officeart/2005/8/layout/hProcess3"/>
    <dgm:cxn modelId="{B5C1D87D-ABCF-4323-B632-09992068F743}" type="presParOf" srcId="{B8275D10-0870-4876-9113-D1DBE642B6B2}" destId="{856EE0FD-E259-43EB-9F18-3E7B92588E44}" srcOrd="0" destOrd="0" presId="urn:microsoft.com/office/officeart/2005/8/layout/hProcess3"/>
    <dgm:cxn modelId="{124950E5-393C-4128-BB1E-42F25D232709}" type="presParOf" srcId="{B8275D10-0870-4876-9113-D1DBE642B6B2}" destId="{0FAB7765-9A2B-4DCA-8E76-6DF92911E3FC}" srcOrd="1" destOrd="0" presId="urn:microsoft.com/office/officeart/2005/8/layout/hProcess3"/>
    <dgm:cxn modelId="{6E6121AB-166D-4BA5-8CF3-D26F40D724C5}" type="presParOf" srcId="{0FAB7765-9A2B-4DCA-8E76-6DF92911E3FC}" destId="{E8B32BA3-639E-401A-BCCA-6D52571227F2}" srcOrd="0" destOrd="0" presId="urn:microsoft.com/office/officeart/2005/8/layout/hProcess3"/>
    <dgm:cxn modelId="{9E1E10E1-18AC-4A50-B194-7837ED0D776E}" type="presParOf" srcId="{0FAB7765-9A2B-4DCA-8E76-6DF92911E3FC}" destId="{0D4148FA-A443-43F3-9A5E-C4C7BC6970BB}" srcOrd="1" destOrd="0" presId="urn:microsoft.com/office/officeart/2005/8/layout/hProcess3"/>
    <dgm:cxn modelId="{0D62832A-CC51-4A79-A196-6F23C2EBCD1B}" type="presParOf" srcId="{0FAB7765-9A2B-4DCA-8E76-6DF92911E3FC}" destId="{C29A188C-F15C-4944-83F3-23E2D5FCE65F}" srcOrd="2" destOrd="0" presId="urn:microsoft.com/office/officeart/2005/8/layout/hProcess3"/>
    <dgm:cxn modelId="{77BE7DE6-3D78-43E7-A68B-BE747CB825F1}" type="presParOf" srcId="{0FAB7765-9A2B-4DCA-8E76-6DF92911E3FC}" destId="{77BAD2EF-6163-4278-AD92-2D2AF5C5FD14}" srcOrd="3" destOrd="0" presId="urn:microsoft.com/office/officeart/2005/8/layout/hProcess3"/>
    <dgm:cxn modelId="{D874F813-6F28-4A2D-92A8-B0919DF49BEE}" type="presParOf" srcId="{B8275D10-0870-4876-9113-D1DBE642B6B2}" destId="{B55E3E32-B7DB-4F29-97DF-1988F4E5CAC0}" srcOrd="2" destOrd="0" presId="urn:microsoft.com/office/officeart/2005/8/layout/hProcess3"/>
    <dgm:cxn modelId="{1AC916D1-832E-42B6-BDF3-C967E2D93EDF}" type="presParOf" srcId="{B8275D10-0870-4876-9113-D1DBE642B6B2}" destId="{B6BA7A6A-5C8D-4FED-BF3B-56552168FE0A}" srcOrd="3" destOrd="0" presId="urn:microsoft.com/office/officeart/2005/8/layout/hProcess3"/>
    <dgm:cxn modelId="{10FEEBB1-1FD4-4DF5-83F4-49B72E0EA3A6}" type="presParOf" srcId="{B8275D10-0870-4876-9113-D1DBE642B6B2}" destId="{8910EE11-0B9B-4750-A76D-1D6809602C43}" srcOrd="4" destOrd="0" presId="urn:microsoft.com/office/officeart/2005/8/layout/hProcess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3011F3D-E8AE-430E-81C0-6E87F3EEC108}" type="doc">
      <dgm:prSet loTypeId="urn:microsoft.com/office/officeart/2005/8/layout/orgChart1" loCatId="hierarchy" qsTypeId="urn:microsoft.com/office/officeart/2005/8/quickstyle/simple1" qsCatId="simple" csTypeId="urn:microsoft.com/office/officeart/2005/8/colors/accent5_3" csCatId="accent5" phldr="1"/>
      <dgm:spPr/>
      <dgm:t>
        <a:bodyPr/>
        <a:lstStyle/>
        <a:p>
          <a:endParaRPr lang="en-US"/>
        </a:p>
      </dgm:t>
    </dgm:pt>
    <dgm:pt modelId="{797A5A7A-63C6-444D-9351-847570F44467}">
      <dgm:prSet custT="1"/>
      <dgm:spPr/>
      <dgm:t>
        <a:bodyPr/>
        <a:lstStyle/>
        <a:p>
          <a:r>
            <a:rPr lang="en-US" sz="1200"/>
            <a:t>OOPS Concepts</a:t>
          </a:r>
        </a:p>
      </dgm:t>
    </dgm:pt>
    <dgm:pt modelId="{8A78445A-86F5-4538-AC95-A6F055561B5B}" type="parTrans" cxnId="{D765EC5A-68AE-4685-95C9-3DFEC47F2F27}">
      <dgm:prSet/>
      <dgm:spPr/>
      <dgm:t>
        <a:bodyPr/>
        <a:lstStyle/>
        <a:p>
          <a:endParaRPr lang="en-US"/>
        </a:p>
      </dgm:t>
    </dgm:pt>
    <dgm:pt modelId="{7D1F7347-B3F3-43E0-9F99-FA72457DFFA5}" type="sibTrans" cxnId="{D765EC5A-68AE-4685-95C9-3DFEC47F2F27}">
      <dgm:prSet/>
      <dgm:spPr/>
      <dgm:t>
        <a:bodyPr/>
        <a:lstStyle/>
        <a:p>
          <a:endParaRPr lang="en-US"/>
        </a:p>
      </dgm:t>
    </dgm:pt>
    <dgm:pt modelId="{937E75A1-5287-41AA-8271-416B84A2F16B}">
      <dgm:prSet custT="1"/>
      <dgm:spPr/>
      <dgm:t>
        <a:bodyPr/>
        <a:lstStyle/>
        <a:p>
          <a:r>
            <a:rPr lang="en-US" sz="1200"/>
            <a:t>Abstraction</a:t>
          </a:r>
        </a:p>
      </dgm:t>
    </dgm:pt>
    <dgm:pt modelId="{6206B2D4-AB50-4FAD-B6AA-998B31284157}" type="parTrans" cxnId="{A4C03392-FEEF-4CCE-AD77-09ECBA3627BF}">
      <dgm:prSet/>
      <dgm:spPr/>
      <dgm:t>
        <a:bodyPr/>
        <a:lstStyle/>
        <a:p>
          <a:endParaRPr lang="en-US" sz="3200"/>
        </a:p>
      </dgm:t>
    </dgm:pt>
    <dgm:pt modelId="{626D8F0C-B492-4BA8-81C3-D2CF32539E54}" type="sibTrans" cxnId="{A4C03392-FEEF-4CCE-AD77-09ECBA3627BF}">
      <dgm:prSet/>
      <dgm:spPr/>
      <dgm:t>
        <a:bodyPr/>
        <a:lstStyle/>
        <a:p>
          <a:endParaRPr lang="en-US"/>
        </a:p>
      </dgm:t>
    </dgm:pt>
    <dgm:pt modelId="{83874FB3-8AEC-4663-9014-439F42813417}">
      <dgm:prSet custT="1"/>
      <dgm:spPr/>
      <dgm:t>
        <a:bodyPr/>
        <a:lstStyle/>
        <a:p>
          <a:r>
            <a:rPr lang="en-US" sz="1200" dirty="0"/>
            <a:t>Generalization through abstraction </a:t>
          </a:r>
        </a:p>
      </dgm:t>
    </dgm:pt>
    <dgm:pt modelId="{5891C059-0BF2-4815-AF70-98AF985FD2E2}" type="parTrans" cxnId="{5E15CC28-68B5-4285-AB0B-1544E0C9C0E2}">
      <dgm:prSet/>
      <dgm:spPr/>
      <dgm:t>
        <a:bodyPr/>
        <a:lstStyle/>
        <a:p>
          <a:endParaRPr lang="en-US" sz="3200"/>
        </a:p>
      </dgm:t>
    </dgm:pt>
    <dgm:pt modelId="{C016DE92-8A11-4A43-8BB3-7855DAB7F70A}" type="sibTrans" cxnId="{5E15CC28-68B5-4285-AB0B-1544E0C9C0E2}">
      <dgm:prSet/>
      <dgm:spPr/>
      <dgm:t>
        <a:bodyPr/>
        <a:lstStyle/>
        <a:p>
          <a:endParaRPr lang="en-US"/>
        </a:p>
      </dgm:t>
    </dgm:pt>
    <dgm:pt modelId="{7D0A99FB-5DAE-4660-9C0F-0A949E41532A}">
      <dgm:prSet custT="1"/>
      <dgm:spPr/>
      <dgm:t>
        <a:bodyPr/>
        <a:lstStyle/>
        <a:p>
          <a:r>
            <a:rPr lang="en-US" sz="1200" dirty="0"/>
            <a:t>Modeling Real World Objects</a:t>
          </a:r>
        </a:p>
      </dgm:t>
    </dgm:pt>
    <dgm:pt modelId="{AB68697E-FBBB-4D6D-8B98-348085EFF853}" type="parTrans" cxnId="{3BE3045D-9F0A-437D-BD62-66590DD124D6}">
      <dgm:prSet/>
      <dgm:spPr/>
      <dgm:t>
        <a:bodyPr/>
        <a:lstStyle/>
        <a:p>
          <a:endParaRPr lang="en-US" sz="3200"/>
        </a:p>
      </dgm:t>
    </dgm:pt>
    <dgm:pt modelId="{F50DC822-ADB3-4358-B8B2-A13B663D479E}" type="sibTrans" cxnId="{3BE3045D-9F0A-437D-BD62-66590DD124D6}">
      <dgm:prSet/>
      <dgm:spPr/>
      <dgm:t>
        <a:bodyPr/>
        <a:lstStyle/>
        <a:p>
          <a:endParaRPr lang="en-US"/>
        </a:p>
      </dgm:t>
    </dgm:pt>
    <dgm:pt modelId="{5C9DEBF6-3CC7-4C86-9A27-87C923279825}">
      <dgm:prSet custT="1"/>
      <dgm:spPr/>
      <dgm:t>
        <a:bodyPr/>
        <a:lstStyle/>
        <a:p>
          <a:r>
            <a:rPr lang="en-US" sz="1200" dirty="0"/>
            <a:t>Organizing abstractions into hierarchies</a:t>
          </a:r>
        </a:p>
      </dgm:t>
    </dgm:pt>
    <dgm:pt modelId="{DD6B98BA-13DB-4D82-BC2C-6FB589B9BBFB}" type="parTrans" cxnId="{FBADF374-E670-4E73-9E66-3BF766F171F8}">
      <dgm:prSet/>
      <dgm:spPr/>
      <dgm:t>
        <a:bodyPr/>
        <a:lstStyle/>
        <a:p>
          <a:endParaRPr lang="en-US" sz="3200"/>
        </a:p>
      </dgm:t>
    </dgm:pt>
    <dgm:pt modelId="{71162FD4-9B93-4F9A-8F1F-58E4F186FA63}" type="sibTrans" cxnId="{FBADF374-E670-4E73-9E66-3BF766F171F8}">
      <dgm:prSet/>
      <dgm:spPr/>
      <dgm:t>
        <a:bodyPr/>
        <a:lstStyle/>
        <a:p>
          <a:endParaRPr lang="en-US"/>
        </a:p>
      </dgm:t>
    </dgm:pt>
    <dgm:pt modelId="{934694CE-312C-4764-88CD-C5ED8A4B9C14}">
      <dgm:prSet custT="1"/>
      <dgm:spPr/>
      <dgm:t>
        <a:bodyPr/>
        <a:lstStyle/>
        <a:p>
          <a:r>
            <a:rPr lang="en-US" sz="1200"/>
            <a:t>What is an object </a:t>
          </a:r>
        </a:p>
      </dgm:t>
    </dgm:pt>
    <dgm:pt modelId="{CC205BAE-0556-4E3F-9038-6F9109CDAFA3}" type="parTrans" cxnId="{D645FF44-C2DC-492C-935B-9590EF33CD35}">
      <dgm:prSet/>
      <dgm:spPr/>
      <dgm:t>
        <a:bodyPr/>
        <a:lstStyle/>
        <a:p>
          <a:endParaRPr lang="en-US" sz="3200"/>
        </a:p>
      </dgm:t>
    </dgm:pt>
    <dgm:pt modelId="{7248A745-018E-43E8-AF0F-E11D5D6ADCF4}" type="sibTrans" cxnId="{D645FF44-C2DC-492C-935B-9590EF33CD35}">
      <dgm:prSet/>
      <dgm:spPr/>
      <dgm:t>
        <a:bodyPr/>
        <a:lstStyle/>
        <a:p>
          <a:endParaRPr lang="en-US"/>
        </a:p>
      </dgm:t>
    </dgm:pt>
    <dgm:pt modelId="{E2454AB0-4136-4790-A145-8A22334F48BC}">
      <dgm:prSet custT="1"/>
      <dgm:spPr/>
      <dgm:t>
        <a:bodyPr/>
        <a:lstStyle/>
        <a:p>
          <a:r>
            <a:rPr lang="en-US" sz="1200"/>
            <a:t>Donut diagram</a:t>
          </a:r>
        </a:p>
      </dgm:t>
    </dgm:pt>
    <dgm:pt modelId="{958F9068-222C-4BB6-95DB-71743F81A23D}" type="parTrans" cxnId="{E8BC5541-C604-4567-BB06-87DCC9A635CA}">
      <dgm:prSet/>
      <dgm:spPr/>
      <dgm:t>
        <a:bodyPr/>
        <a:lstStyle/>
        <a:p>
          <a:endParaRPr lang="en-US" sz="3200"/>
        </a:p>
      </dgm:t>
    </dgm:pt>
    <dgm:pt modelId="{7B13FD1D-F5B9-493E-BE20-B6CD9B9DD0A6}" type="sibTrans" cxnId="{E8BC5541-C604-4567-BB06-87DCC9A635CA}">
      <dgm:prSet/>
      <dgm:spPr/>
      <dgm:t>
        <a:bodyPr/>
        <a:lstStyle/>
        <a:p>
          <a:endParaRPr lang="en-US"/>
        </a:p>
      </dgm:t>
    </dgm:pt>
    <dgm:pt modelId="{12F83E17-A929-41FE-80CE-06082A8A0ECB}">
      <dgm:prSet custT="1"/>
      <dgm:spPr/>
      <dgm:t>
        <a:bodyPr/>
        <a:lstStyle/>
        <a:p>
          <a:r>
            <a:rPr lang="en-US" sz="1200"/>
            <a:t>State</a:t>
          </a:r>
        </a:p>
      </dgm:t>
    </dgm:pt>
    <dgm:pt modelId="{CC2CA859-6084-4A4F-8D42-464D6DC0DE5A}" type="parTrans" cxnId="{8E14B044-FE28-49FD-AEFC-9963360DB145}">
      <dgm:prSet/>
      <dgm:spPr/>
      <dgm:t>
        <a:bodyPr/>
        <a:lstStyle/>
        <a:p>
          <a:endParaRPr lang="en-US" sz="3200"/>
        </a:p>
      </dgm:t>
    </dgm:pt>
    <dgm:pt modelId="{DDDB7FDB-2598-4BEE-A70C-1F2A2F58CDE4}" type="sibTrans" cxnId="{8E14B044-FE28-49FD-AEFC-9963360DB145}">
      <dgm:prSet/>
      <dgm:spPr/>
      <dgm:t>
        <a:bodyPr/>
        <a:lstStyle/>
        <a:p>
          <a:endParaRPr lang="en-US"/>
        </a:p>
      </dgm:t>
    </dgm:pt>
    <dgm:pt modelId="{AF31D313-2366-4ACD-9242-DE3A0FA757E3}">
      <dgm:prSet custT="1"/>
      <dgm:spPr/>
      <dgm:t>
        <a:bodyPr/>
        <a:lstStyle/>
        <a:p>
          <a:r>
            <a:rPr lang="en-US" sz="1200"/>
            <a:t>Behavior</a:t>
          </a:r>
        </a:p>
      </dgm:t>
    </dgm:pt>
    <dgm:pt modelId="{E463D1D2-5BC8-47F3-B67B-CDBED5DE9CC7}" type="parTrans" cxnId="{F71BB0F8-D8F7-443D-AE2E-F8508675F8A0}">
      <dgm:prSet/>
      <dgm:spPr/>
      <dgm:t>
        <a:bodyPr/>
        <a:lstStyle/>
        <a:p>
          <a:endParaRPr lang="en-US" sz="3200"/>
        </a:p>
      </dgm:t>
    </dgm:pt>
    <dgm:pt modelId="{085E57BE-B616-4AE8-8FDE-87154C4C379C}" type="sibTrans" cxnId="{F71BB0F8-D8F7-443D-AE2E-F8508675F8A0}">
      <dgm:prSet/>
      <dgm:spPr/>
      <dgm:t>
        <a:bodyPr/>
        <a:lstStyle/>
        <a:p>
          <a:endParaRPr lang="en-US"/>
        </a:p>
      </dgm:t>
    </dgm:pt>
    <dgm:pt modelId="{4D759C89-D203-431E-AA5A-99588B774AA1}">
      <dgm:prSet custT="1"/>
      <dgm:spPr/>
      <dgm:t>
        <a:bodyPr/>
        <a:lstStyle/>
        <a:p>
          <a:r>
            <a:rPr lang="en-US" sz="1200" dirty="0"/>
            <a:t>Concept of Class as abstraction of object</a:t>
          </a:r>
        </a:p>
      </dgm:t>
    </dgm:pt>
    <dgm:pt modelId="{0FF521B8-B191-47A8-848F-F44CB764AF12}" type="parTrans" cxnId="{4885BA94-2B73-425A-9F3A-40902CD2B3B3}">
      <dgm:prSet/>
      <dgm:spPr/>
      <dgm:t>
        <a:bodyPr/>
        <a:lstStyle/>
        <a:p>
          <a:endParaRPr lang="en-US" sz="3200"/>
        </a:p>
      </dgm:t>
    </dgm:pt>
    <dgm:pt modelId="{10A8A46E-9266-4788-A8CA-60594784C983}" type="sibTrans" cxnId="{4885BA94-2B73-425A-9F3A-40902CD2B3B3}">
      <dgm:prSet/>
      <dgm:spPr/>
      <dgm:t>
        <a:bodyPr/>
        <a:lstStyle/>
        <a:p>
          <a:endParaRPr lang="en-US"/>
        </a:p>
      </dgm:t>
    </dgm:pt>
    <dgm:pt modelId="{262AAC68-CE95-499D-8EFB-72CD776C2896}">
      <dgm:prSet custT="1"/>
      <dgm:spPr/>
      <dgm:t>
        <a:bodyPr/>
        <a:lstStyle/>
        <a:p>
          <a:r>
            <a:rPr lang="en-US" sz="1200" dirty="0"/>
            <a:t>UML notation for a class</a:t>
          </a:r>
        </a:p>
      </dgm:t>
    </dgm:pt>
    <dgm:pt modelId="{99185FB2-4450-4A6E-B17B-B50F7C75745F}" type="parTrans" cxnId="{CC3CE4A4-0825-470E-B74B-2F2C97B2CDE3}">
      <dgm:prSet/>
      <dgm:spPr/>
      <dgm:t>
        <a:bodyPr/>
        <a:lstStyle/>
        <a:p>
          <a:endParaRPr lang="en-US" sz="3200"/>
        </a:p>
      </dgm:t>
    </dgm:pt>
    <dgm:pt modelId="{750A6F83-92B8-432E-BAA9-3A984A0BF536}" type="sibTrans" cxnId="{CC3CE4A4-0825-470E-B74B-2F2C97B2CDE3}">
      <dgm:prSet/>
      <dgm:spPr/>
      <dgm:t>
        <a:bodyPr/>
        <a:lstStyle/>
        <a:p>
          <a:endParaRPr lang="en-US"/>
        </a:p>
      </dgm:t>
    </dgm:pt>
    <dgm:pt modelId="{00F9FD57-80F6-4C71-AD43-992445E32C89}">
      <dgm:prSet custT="1"/>
      <dgm:spPr/>
      <dgm:t>
        <a:bodyPr/>
        <a:lstStyle/>
        <a:p>
          <a:r>
            <a:rPr lang="en-US" sz="1200" dirty="0"/>
            <a:t>What is object oriented programming</a:t>
          </a:r>
        </a:p>
      </dgm:t>
    </dgm:pt>
    <dgm:pt modelId="{CC76C20E-041D-41F5-BEA2-15C1FFF26B27}" type="parTrans" cxnId="{E9BAA3AB-5504-44C5-A814-F80A1E13410B}">
      <dgm:prSet/>
      <dgm:spPr/>
      <dgm:t>
        <a:bodyPr/>
        <a:lstStyle/>
        <a:p>
          <a:endParaRPr lang="en-US" sz="3200"/>
        </a:p>
      </dgm:t>
    </dgm:pt>
    <dgm:pt modelId="{37792D33-1CB7-46CB-AC40-D9F86D154950}" type="sibTrans" cxnId="{E9BAA3AB-5504-44C5-A814-F80A1E13410B}">
      <dgm:prSet/>
      <dgm:spPr/>
      <dgm:t>
        <a:bodyPr/>
        <a:lstStyle/>
        <a:p>
          <a:endParaRPr lang="en-US"/>
        </a:p>
      </dgm:t>
    </dgm:pt>
    <dgm:pt modelId="{66970467-3022-4F57-B7EA-8C430437BCE3}">
      <dgm:prSet custT="1"/>
      <dgm:spPr/>
      <dgm:t>
        <a:bodyPr/>
        <a:lstStyle/>
        <a:p>
          <a:r>
            <a:rPr lang="en-US" sz="1200" dirty="0"/>
            <a:t>Why Object Oriented Programming</a:t>
          </a:r>
        </a:p>
      </dgm:t>
    </dgm:pt>
    <dgm:pt modelId="{43CD34B8-48FF-4250-9633-C541A4FF62C0}" type="parTrans" cxnId="{C675FBCC-B3AF-47F0-88C3-FD8B44A65E52}">
      <dgm:prSet/>
      <dgm:spPr/>
      <dgm:t>
        <a:bodyPr/>
        <a:lstStyle/>
        <a:p>
          <a:endParaRPr lang="en-US" sz="3200"/>
        </a:p>
      </dgm:t>
    </dgm:pt>
    <dgm:pt modelId="{095E5559-285C-4DB2-96AE-23FB6B18AAC0}" type="sibTrans" cxnId="{C675FBCC-B3AF-47F0-88C3-FD8B44A65E52}">
      <dgm:prSet/>
      <dgm:spPr/>
      <dgm:t>
        <a:bodyPr/>
        <a:lstStyle/>
        <a:p>
          <a:endParaRPr lang="en-US"/>
        </a:p>
      </dgm:t>
    </dgm:pt>
    <dgm:pt modelId="{4E3E47DB-5AE4-4089-92D9-D1453B20C4A6}">
      <dgm:prSet custT="1"/>
      <dgm:spPr/>
      <dgm:t>
        <a:bodyPr/>
        <a:lstStyle/>
        <a:p>
          <a:r>
            <a:rPr lang="en-US" sz="1200" dirty="0"/>
            <a:t>Benefits or Goals of Object Oriented Programming</a:t>
          </a:r>
        </a:p>
      </dgm:t>
    </dgm:pt>
    <dgm:pt modelId="{1B23A5EF-5685-4DC4-A75B-14525DFFFB36}" type="parTrans" cxnId="{BB0E8733-3E71-47C1-B441-D4C0B17691F2}">
      <dgm:prSet/>
      <dgm:spPr/>
      <dgm:t>
        <a:bodyPr/>
        <a:lstStyle/>
        <a:p>
          <a:endParaRPr lang="en-US" sz="3200"/>
        </a:p>
      </dgm:t>
    </dgm:pt>
    <dgm:pt modelId="{8117DA05-6E3C-479E-8026-9D986EBD603F}" type="sibTrans" cxnId="{BB0E8733-3E71-47C1-B441-D4C0B17691F2}">
      <dgm:prSet/>
      <dgm:spPr/>
      <dgm:t>
        <a:bodyPr/>
        <a:lstStyle/>
        <a:p>
          <a:endParaRPr lang="en-US"/>
        </a:p>
      </dgm:t>
    </dgm:pt>
    <dgm:pt modelId="{2DCB5798-8B3B-48CB-9F19-10D813DA6FA9}" type="pres">
      <dgm:prSet presAssocID="{C3011F3D-E8AE-430E-81C0-6E87F3EEC108}" presName="hierChild1" presStyleCnt="0">
        <dgm:presLayoutVars>
          <dgm:orgChart val="1"/>
          <dgm:chPref val="1"/>
          <dgm:dir/>
          <dgm:animOne val="branch"/>
          <dgm:animLvl val="lvl"/>
          <dgm:resizeHandles/>
        </dgm:presLayoutVars>
      </dgm:prSet>
      <dgm:spPr/>
    </dgm:pt>
    <dgm:pt modelId="{A2C7FD58-0E1E-4D82-BB48-F6C30D016E70}" type="pres">
      <dgm:prSet presAssocID="{797A5A7A-63C6-444D-9351-847570F44467}" presName="hierRoot1" presStyleCnt="0">
        <dgm:presLayoutVars>
          <dgm:hierBranch val="init"/>
        </dgm:presLayoutVars>
      </dgm:prSet>
      <dgm:spPr/>
    </dgm:pt>
    <dgm:pt modelId="{F4F62070-24E4-40E2-8D2C-00B079591FAC}" type="pres">
      <dgm:prSet presAssocID="{797A5A7A-63C6-444D-9351-847570F44467}" presName="rootComposite1" presStyleCnt="0"/>
      <dgm:spPr/>
    </dgm:pt>
    <dgm:pt modelId="{52459522-129A-4814-A524-1B7B12ED84FF}" type="pres">
      <dgm:prSet presAssocID="{797A5A7A-63C6-444D-9351-847570F44467}" presName="rootText1" presStyleLbl="node0" presStyleIdx="0" presStyleCnt="1">
        <dgm:presLayoutVars>
          <dgm:chPref val="3"/>
        </dgm:presLayoutVars>
      </dgm:prSet>
      <dgm:spPr/>
    </dgm:pt>
    <dgm:pt modelId="{F3CD31A1-4620-4893-A333-B590253695A9}" type="pres">
      <dgm:prSet presAssocID="{797A5A7A-63C6-444D-9351-847570F44467}" presName="rootConnector1" presStyleLbl="node1" presStyleIdx="0" presStyleCnt="0"/>
      <dgm:spPr/>
    </dgm:pt>
    <dgm:pt modelId="{81983324-DBED-4313-82CD-7F665ED5BF2A}" type="pres">
      <dgm:prSet presAssocID="{797A5A7A-63C6-444D-9351-847570F44467}" presName="hierChild2" presStyleCnt="0"/>
      <dgm:spPr/>
    </dgm:pt>
    <dgm:pt modelId="{D24E863B-F6A2-42FD-9C96-A10399FB010A}" type="pres">
      <dgm:prSet presAssocID="{6206B2D4-AB50-4FAD-B6AA-998B31284157}" presName="Name37" presStyleLbl="parChTrans1D2" presStyleIdx="0" presStyleCnt="8"/>
      <dgm:spPr/>
    </dgm:pt>
    <dgm:pt modelId="{FF925AA3-B204-453C-B523-497D8EA2AD91}" type="pres">
      <dgm:prSet presAssocID="{937E75A1-5287-41AA-8271-416B84A2F16B}" presName="hierRoot2" presStyleCnt="0">
        <dgm:presLayoutVars>
          <dgm:hierBranch val="init"/>
        </dgm:presLayoutVars>
      </dgm:prSet>
      <dgm:spPr/>
    </dgm:pt>
    <dgm:pt modelId="{5D8C184F-1CF4-4444-BD26-8DC58C48478E}" type="pres">
      <dgm:prSet presAssocID="{937E75A1-5287-41AA-8271-416B84A2F16B}" presName="rootComposite" presStyleCnt="0"/>
      <dgm:spPr/>
    </dgm:pt>
    <dgm:pt modelId="{FF8FCA23-D619-4B04-BAC0-79114137DBB5}" type="pres">
      <dgm:prSet presAssocID="{937E75A1-5287-41AA-8271-416B84A2F16B}" presName="rootText" presStyleLbl="node2" presStyleIdx="0" presStyleCnt="8">
        <dgm:presLayoutVars>
          <dgm:chPref val="3"/>
        </dgm:presLayoutVars>
      </dgm:prSet>
      <dgm:spPr/>
    </dgm:pt>
    <dgm:pt modelId="{EA2A1A1D-8230-40BE-A40E-8DD2E45CE17F}" type="pres">
      <dgm:prSet presAssocID="{937E75A1-5287-41AA-8271-416B84A2F16B}" presName="rootConnector" presStyleLbl="node2" presStyleIdx="0" presStyleCnt="8"/>
      <dgm:spPr/>
    </dgm:pt>
    <dgm:pt modelId="{42C09568-7D59-4265-BFE1-D40B1F7A4379}" type="pres">
      <dgm:prSet presAssocID="{937E75A1-5287-41AA-8271-416B84A2F16B}" presName="hierChild4" presStyleCnt="0"/>
      <dgm:spPr/>
    </dgm:pt>
    <dgm:pt modelId="{39E6D2E6-0062-43B6-A64E-EA16EF3229D5}" type="pres">
      <dgm:prSet presAssocID="{937E75A1-5287-41AA-8271-416B84A2F16B}" presName="hierChild5" presStyleCnt="0"/>
      <dgm:spPr/>
    </dgm:pt>
    <dgm:pt modelId="{7B76D1E7-BE37-4688-BEF9-F98260B45766}" type="pres">
      <dgm:prSet presAssocID="{5891C059-0BF2-4815-AF70-98AF985FD2E2}" presName="Name37" presStyleLbl="parChTrans1D2" presStyleIdx="1" presStyleCnt="8"/>
      <dgm:spPr/>
    </dgm:pt>
    <dgm:pt modelId="{956C5B41-995D-4E83-8E3C-C61640A4806C}" type="pres">
      <dgm:prSet presAssocID="{83874FB3-8AEC-4663-9014-439F42813417}" presName="hierRoot2" presStyleCnt="0">
        <dgm:presLayoutVars>
          <dgm:hierBranch val="init"/>
        </dgm:presLayoutVars>
      </dgm:prSet>
      <dgm:spPr/>
    </dgm:pt>
    <dgm:pt modelId="{6EE8D038-4F38-45ED-AA04-FDB67B9CC320}" type="pres">
      <dgm:prSet presAssocID="{83874FB3-8AEC-4663-9014-439F42813417}" presName="rootComposite" presStyleCnt="0"/>
      <dgm:spPr/>
    </dgm:pt>
    <dgm:pt modelId="{0801DB10-E965-43F3-9AF3-B90FBE09FB03}" type="pres">
      <dgm:prSet presAssocID="{83874FB3-8AEC-4663-9014-439F42813417}" presName="rootText" presStyleLbl="node2" presStyleIdx="1" presStyleCnt="8" custScaleY="124624">
        <dgm:presLayoutVars>
          <dgm:chPref val="3"/>
        </dgm:presLayoutVars>
      </dgm:prSet>
      <dgm:spPr/>
    </dgm:pt>
    <dgm:pt modelId="{3A6FDCFF-21B1-4B29-A2DC-F77B8B00B783}" type="pres">
      <dgm:prSet presAssocID="{83874FB3-8AEC-4663-9014-439F42813417}" presName="rootConnector" presStyleLbl="node2" presStyleIdx="1" presStyleCnt="8"/>
      <dgm:spPr/>
    </dgm:pt>
    <dgm:pt modelId="{C14D3AC9-5388-4565-A7A1-84C6A46B851D}" type="pres">
      <dgm:prSet presAssocID="{83874FB3-8AEC-4663-9014-439F42813417}" presName="hierChild4" presStyleCnt="0"/>
      <dgm:spPr/>
    </dgm:pt>
    <dgm:pt modelId="{86EB34B1-9148-48B9-8A57-981161DED4D2}" type="pres">
      <dgm:prSet presAssocID="{AB68697E-FBBB-4D6D-8B98-348085EFF853}" presName="Name37" presStyleLbl="parChTrans1D3" presStyleIdx="0" presStyleCnt="5"/>
      <dgm:spPr/>
    </dgm:pt>
    <dgm:pt modelId="{3A706CE3-E04F-422C-9EC0-1B3C5CF6A390}" type="pres">
      <dgm:prSet presAssocID="{7D0A99FB-5DAE-4660-9C0F-0A949E41532A}" presName="hierRoot2" presStyleCnt="0">
        <dgm:presLayoutVars>
          <dgm:hierBranch val="init"/>
        </dgm:presLayoutVars>
      </dgm:prSet>
      <dgm:spPr/>
    </dgm:pt>
    <dgm:pt modelId="{A3DE45E8-6FC4-4D2F-A618-00E8D34AD83E}" type="pres">
      <dgm:prSet presAssocID="{7D0A99FB-5DAE-4660-9C0F-0A949E41532A}" presName="rootComposite" presStyleCnt="0"/>
      <dgm:spPr/>
    </dgm:pt>
    <dgm:pt modelId="{45315E44-52C1-4260-A409-5D08C3B012F5}" type="pres">
      <dgm:prSet presAssocID="{7D0A99FB-5DAE-4660-9C0F-0A949E41532A}" presName="rootText" presStyleLbl="node3" presStyleIdx="0" presStyleCnt="5" custScaleY="127034">
        <dgm:presLayoutVars>
          <dgm:chPref val="3"/>
        </dgm:presLayoutVars>
      </dgm:prSet>
      <dgm:spPr/>
    </dgm:pt>
    <dgm:pt modelId="{C6C1F898-C2CD-4DF5-82A0-437A11725D3E}" type="pres">
      <dgm:prSet presAssocID="{7D0A99FB-5DAE-4660-9C0F-0A949E41532A}" presName="rootConnector" presStyleLbl="node3" presStyleIdx="0" presStyleCnt="5"/>
      <dgm:spPr/>
    </dgm:pt>
    <dgm:pt modelId="{604C3211-BDE8-4094-A515-A53605BF7B73}" type="pres">
      <dgm:prSet presAssocID="{7D0A99FB-5DAE-4660-9C0F-0A949E41532A}" presName="hierChild4" presStyleCnt="0"/>
      <dgm:spPr/>
    </dgm:pt>
    <dgm:pt modelId="{6CE6946E-38F6-4EA6-B04F-4534EA6264EC}" type="pres">
      <dgm:prSet presAssocID="{7D0A99FB-5DAE-4660-9C0F-0A949E41532A}" presName="hierChild5" presStyleCnt="0"/>
      <dgm:spPr/>
    </dgm:pt>
    <dgm:pt modelId="{FCEF9A63-B80E-424E-B174-B0BF6825733C}" type="pres">
      <dgm:prSet presAssocID="{83874FB3-8AEC-4663-9014-439F42813417}" presName="hierChild5" presStyleCnt="0"/>
      <dgm:spPr/>
    </dgm:pt>
    <dgm:pt modelId="{1610C381-62D3-447C-A5C6-4587A6886CBD}" type="pres">
      <dgm:prSet presAssocID="{DD6B98BA-13DB-4D82-BC2C-6FB589B9BBFB}" presName="Name37" presStyleLbl="parChTrans1D2" presStyleIdx="2" presStyleCnt="8"/>
      <dgm:spPr/>
    </dgm:pt>
    <dgm:pt modelId="{07E37034-94B8-44CF-92A4-168376FEC79B}" type="pres">
      <dgm:prSet presAssocID="{5C9DEBF6-3CC7-4C86-9A27-87C923279825}" presName="hierRoot2" presStyleCnt="0">
        <dgm:presLayoutVars>
          <dgm:hierBranch val="init"/>
        </dgm:presLayoutVars>
      </dgm:prSet>
      <dgm:spPr/>
    </dgm:pt>
    <dgm:pt modelId="{6483698C-5AFC-441E-B69A-385EFA752048}" type="pres">
      <dgm:prSet presAssocID="{5C9DEBF6-3CC7-4C86-9A27-87C923279825}" presName="rootComposite" presStyleCnt="0"/>
      <dgm:spPr/>
    </dgm:pt>
    <dgm:pt modelId="{2422063D-3760-4973-924A-C7A35B6F183A}" type="pres">
      <dgm:prSet presAssocID="{5C9DEBF6-3CC7-4C86-9A27-87C923279825}" presName="rootText" presStyleLbl="node2" presStyleIdx="2" presStyleCnt="8" custScaleY="210502">
        <dgm:presLayoutVars>
          <dgm:chPref val="3"/>
        </dgm:presLayoutVars>
      </dgm:prSet>
      <dgm:spPr/>
    </dgm:pt>
    <dgm:pt modelId="{80F370F8-7065-4359-9E89-D7505F97F968}" type="pres">
      <dgm:prSet presAssocID="{5C9DEBF6-3CC7-4C86-9A27-87C923279825}" presName="rootConnector" presStyleLbl="node2" presStyleIdx="2" presStyleCnt="8"/>
      <dgm:spPr/>
    </dgm:pt>
    <dgm:pt modelId="{EA93547E-1ED3-42FA-A739-7414FF7945A1}" type="pres">
      <dgm:prSet presAssocID="{5C9DEBF6-3CC7-4C86-9A27-87C923279825}" presName="hierChild4" presStyleCnt="0"/>
      <dgm:spPr/>
    </dgm:pt>
    <dgm:pt modelId="{6C0684A7-8950-41EC-AB7D-3618EBD25F0C}" type="pres">
      <dgm:prSet presAssocID="{5C9DEBF6-3CC7-4C86-9A27-87C923279825}" presName="hierChild5" presStyleCnt="0"/>
      <dgm:spPr/>
    </dgm:pt>
    <dgm:pt modelId="{F7BCE9C8-94B0-4C91-9B5B-081381254ACB}" type="pres">
      <dgm:prSet presAssocID="{CC205BAE-0556-4E3F-9038-6F9109CDAFA3}" presName="Name37" presStyleLbl="parChTrans1D2" presStyleIdx="3" presStyleCnt="8"/>
      <dgm:spPr/>
    </dgm:pt>
    <dgm:pt modelId="{69F19F50-D201-42E6-A9E8-C9592BD1C4B6}" type="pres">
      <dgm:prSet presAssocID="{934694CE-312C-4764-88CD-C5ED8A4B9C14}" presName="hierRoot2" presStyleCnt="0">
        <dgm:presLayoutVars>
          <dgm:hierBranch val="init"/>
        </dgm:presLayoutVars>
      </dgm:prSet>
      <dgm:spPr/>
    </dgm:pt>
    <dgm:pt modelId="{5AC7656C-6F70-4E93-BD23-D62592946868}" type="pres">
      <dgm:prSet presAssocID="{934694CE-312C-4764-88CD-C5ED8A4B9C14}" presName="rootComposite" presStyleCnt="0"/>
      <dgm:spPr/>
    </dgm:pt>
    <dgm:pt modelId="{B56BF1A2-548A-41DD-9181-9755303256E4}" type="pres">
      <dgm:prSet presAssocID="{934694CE-312C-4764-88CD-C5ED8A4B9C14}" presName="rootText" presStyleLbl="node2" presStyleIdx="3" presStyleCnt="8">
        <dgm:presLayoutVars>
          <dgm:chPref val="3"/>
        </dgm:presLayoutVars>
      </dgm:prSet>
      <dgm:spPr/>
    </dgm:pt>
    <dgm:pt modelId="{5CC96299-C941-49EA-AB15-60A948CB1096}" type="pres">
      <dgm:prSet presAssocID="{934694CE-312C-4764-88CD-C5ED8A4B9C14}" presName="rootConnector" presStyleLbl="node2" presStyleIdx="3" presStyleCnt="8"/>
      <dgm:spPr/>
    </dgm:pt>
    <dgm:pt modelId="{A5A6FB06-E6E1-4A35-B197-EDD1C65347D1}" type="pres">
      <dgm:prSet presAssocID="{934694CE-312C-4764-88CD-C5ED8A4B9C14}" presName="hierChild4" presStyleCnt="0"/>
      <dgm:spPr/>
    </dgm:pt>
    <dgm:pt modelId="{CD193866-CAA4-4837-B273-13597F46A2C8}" type="pres">
      <dgm:prSet presAssocID="{958F9068-222C-4BB6-95DB-71743F81A23D}" presName="Name37" presStyleLbl="parChTrans1D3" presStyleIdx="1" presStyleCnt="5"/>
      <dgm:spPr/>
    </dgm:pt>
    <dgm:pt modelId="{8C2CE9B7-0531-4AF6-B43C-2B7CFEB0D6CB}" type="pres">
      <dgm:prSet presAssocID="{E2454AB0-4136-4790-A145-8A22334F48BC}" presName="hierRoot2" presStyleCnt="0">
        <dgm:presLayoutVars>
          <dgm:hierBranch val="init"/>
        </dgm:presLayoutVars>
      </dgm:prSet>
      <dgm:spPr/>
    </dgm:pt>
    <dgm:pt modelId="{5CF9BE9D-ABED-43ED-9A32-4196ED987FAE}" type="pres">
      <dgm:prSet presAssocID="{E2454AB0-4136-4790-A145-8A22334F48BC}" presName="rootComposite" presStyleCnt="0"/>
      <dgm:spPr/>
    </dgm:pt>
    <dgm:pt modelId="{BD69AEB8-D35E-464F-BE58-2FBF6F5A1E3D}" type="pres">
      <dgm:prSet presAssocID="{E2454AB0-4136-4790-A145-8A22334F48BC}" presName="rootText" presStyleLbl="node3" presStyleIdx="1" presStyleCnt="5">
        <dgm:presLayoutVars>
          <dgm:chPref val="3"/>
        </dgm:presLayoutVars>
      </dgm:prSet>
      <dgm:spPr/>
    </dgm:pt>
    <dgm:pt modelId="{41A48E1F-A71C-4F36-81B7-A10DF46D023B}" type="pres">
      <dgm:prSet presAssocID="{E2454AB0-4136-4790-A145-8A22334F48BC}" presName="rootConnector" presStyleLbl="node3" presStyleIdx="1" presStyleCnt="5"/>
      <dgm:spPr/>
    </dgm:pt>
    <dgm:pt modelId="{1852C593-754A-4804-BE12-F9F5ECE1E47C}" type="pres">
      <dgm:prSet presAssocID="{E2454AB0-4136-4790-A145-8A22334F48BC}" presName="hierChild4" presStyleCnt="0"/>
      <dgm:spPr/>
    </dgm:pt>
    <dgm:pt modelId="{3F0D2509-32A1-4DD3-AAD3-37781C26AE3D}" type="pres">
      <dgm:prSet presAssocID="{E2454AB0-4136-4790-A145-8A22334F48BC}" presName="hierChild5" presStyleCnt="0"/>
      <dgm:spPr/>
    </dgm:pt>
    <dgm:pt modelId="{95305584-09E4-4168-A629-2454BAA89621}" type="pres">
      <dgm:prSet presAssocID="{CC2CA859-6084-4A4F-8D42-464D6DC0DE5A}" presName="Name37" presStyleLbl="parChTrans1D3" presStyleIdx="2" presStyleCnt="5"/>
      <dgm:spPr/>
    </dgm:pt>
    <dgm:pt modelId="{1F683AF3-BBFA-4FE4-9DD7-DAA32DD5AC63}" type="pres">
      <dgm:prSet presAssocID="{12F83E17-A929-41FE-80CE-06082A8A0ECB}" presName="hierRoot2" presStyleCnt="0">
        <dgm:presLayoutVars>
          <dgm:hierBranch val="init"/>
        </dgm:presLayoutVars>
      </dgm:prSet>
      <dgm:spPr/>
    </dgm:pt>
    <dgm:pt modelId="{AA25528B-CA5F-4DC3-8A51-648B0396D618}" type="pres">
      <dgm:prSet presAssocID="{12F83E17-A929-41FE-80CE-06082A8A0ECB}" presName="rootComposite" presStyleCnt="0"/>
      <dgm:spPr/>
    </dgm:pt>
    <dgm:pt modelId="{C01CED70-C573-4324-8B31-2C11A5049EA8}" type="pres">
      <dgm:prSet presAssocID="{12F83E17-A929-41FE-80CE-06082A8A0ECB}" presName="rootText" presStyleLbl="node3" presStyleIdx="2" presStyleCnt="5">
        <dgm:presLayoutVars>
          <dgm:chPref val="3"/>
        </dgm:presLayoutVars>
      </dgm:prSet>
      <dgm:spPr/>
    </dgm:pt>
    <dgm:pt modelId="{36312F3A-ABE6-4261-9000-6384749DBE2B}" type="pres">
      <dgm:prSet presAssocID="{12F83E17-A929-41FE-80CE-06082A8A0ECB}" presName="rootConnector" presStyleLbl="node3" presStyleIdx="2" presStyleCnt="5"/>
      <dgm:spPr/>
    </dgm:pt>
    <dgm:pt modelId="{56320036-D2C5-4025-B5E5-B0DA74D621E8}" type="pres">
      <dgm:prSet presAssocID="{12F83E17-A929-41FE-80CE-06082A8A0ECB}" presName="hierChild4" presStyleCnt="0"/>
      <dgm:spPr/>
    </dgm:pt>
    <dgm:pt modelId="{6DBDCFD6-ED3A-47BB-893A-9DB3CEB3F6B0}" type="pres">
      <dgm:prSet presAssocID="{12F83E17-A929-41FE-80CE-06082A8A0ECB}" presName="hierChild5" presStyleCnt="0"/>
      <dgm:spPr/>
    </dgm:pt>
    <dgm:pt modelId="{100FE8FC-08FB-454C-B66D-5E468A21570B}" type="pres">
      <dgm:prSet presAssocID="{E463D1D2-5BC8-47F3-B67B-CDBED5DE9CC7}" presName="Name37" presStyleLbl="parChTrans1D3" presStyleIdx="3" presStyleCnt="5"/>
      <dgm:spPr/>
    </dgm:pt>
    <dgm:pt modelId="{AD4A8A4A-33B4-49CF-AB9C-38CEAE1ABE1B}" type="pres">
      <dgm:prSet presAssocID="{AF31D313-2366-4ACD-9242-DE3A0FA757E3}" presName="hierRoot2" presStyleCnt="0">
        <dgm:presLayoutVars>
          <dgm:hierBranch val="init"/>
        </dgm:presLayoutVars>
      </dgm:prSet>
      <dgm:spPr/>
    </dgm:pt>
    <dgm:pt modelId="{616F123E-65BD-4C9B-B660-1F23B96B18A5}" type="pres">
      <dgm:prSet presAssocID="{AF31D313-2366-4ACD-9242-DE3A0FA757E3}" presName="rootComposite" presStyleCnt="0"/>
      <dgm:spPr/>
    </dgm:pt>
    <dgm:pt modelId="{6F88843C-A2CB-46A2-81C0-7E7DF6892CA8}" type="pres">
      <dgm:prSet presAssocID="{AF31D313-2366-4ACD-9242-DE3A0FA757E3}" presName="rootText" presStyleLbl="node3" presStyleIdx="3" presStyleCnt="5">
        <dgm:presLayoutVars>
          <dgm:chPref val="3"/>
        </dgm:presLayoutVars>
      </dgm:prSet>
      <dgm:spPr/>
    </dgm:pt>
    <dgm:pt modelId="{698E2D6B-5EFF-4C39-A7F1-89E07620B287}" type="pres">
      <dgm:prSet presAssocID="{AF31D313-2366-4ACD-9242-DE3A0FA757E3}" presName="rootConnector" presStyleLbl="node3" presStyleIdx="3" presStyleCnt="5"/>
      <dgm:spPr/>
    </dgm:pt>
    <dgm:pt modelId="{EB8A5930-A3C7-4E5C-81AB-A7E5DF5D0066}" type="pres">
      <dgm:prSet presAssocID="{AF31D313-2366-4ACD-9242-DE3A0FA757E3}" presName="hierChild4" presStyleCnt="0"/>
      <dgm:spPr/>
    </dgm:pt>
    <dgm:pt modelId="{AD079B37-DA1A-411B-9FAE-D2C30342D672}" type="pres">
      <dgm:prSet presAssocID="{AF31D313-2366-4ACD-9242-DE3A0FA757E3}" presName="hierChild5" presStyleCnt="0"/>
      <dgm:spPr/>
    </dgm:pt>
    <dgm:pt modelId="{28C10976-316C-45EB-9303-E50B0167410C}" type="pres">
      <dgm:prSet presAssocID="{934694CE-312C-4764-88CD-C5ED8A4B9C14}" presName="hierChild5" presStyleCnt="0"/>
      <dgm:spPr/>
    </dgm:pt>
    <dgm:pt modelId="{B55ED671-F552-4982-841F-608905806176}" type="pres">
      <dgm:prSet presAssocID="{0FF521B8-B191-47A8-848F-F44CB764AF12}" presName="Name37" presStyleLbl="parChTrans1D2" presStyleIdx="4" presStyleCnt="8"/>
      <dgm:spPr/>
    </dgm:pt>
    <dgm:pt modelId="{499F1409-B2BA-481A-82BB-D436312B32D1}" type="pres">
      <dgm:prSet presAssocID="{4D759C89-D203-431E-AA5A-99588B774AA1}" presName="hierRoot2" presStyleCnt="0">
        <dgm:presLayoutVars>
          <dgm:hierBranch val="init"/>
        </dgm:presLayoutVars>
      </dgm:prSet>
      <dgm:spPr/>
    </dgm:pt>
    <dgm:pt modelId="{11FF25C9-2445-44DA-A09E-97587EEF5CE4}" type="pres">
      <dgm:prSet presAssocID="{4D759C89-D203-431E-AA5A-99588B774AA1}" presName="rootComposite" presStyleCnt="0"/>
      <dgm:spPr/>
    </dgm:pt>
    <dgm:pt modelId="{A9F2C550-EA53-43FD-A0FB-484C52E3FD9B}" type="pres">
      <dgm:prSet presAssocID="{4D759C89-D203-431E-AA5A-99588B774AA1}" presName="rootText" presStyleLbl="node2" presStyleIdx="4" presStyleCnt="8" custScaleY="208539">
        <dgm:presLayoutVars>
          <dgm:chPref val="3"/>
        </dgm:presLayoutVars>
      </dgm:prSet>
      <dgm:spPr/>
    </dgm:pt>
    <dgm:pt modelId="{541AD2AE-6491-4CAF-B9DE-E806460CBF93}" type="pres">
      <dgm:prSet presAssocID="{4D759C89-D203-431E-AA5A-99588B774AA1}" presName="rootConnector" presStyleLbl="node2" presStyleIdx="4" presStyleCnt="8"/>
      <dgm:spPr/>
    </dgm:pt>
    <dgm:pt modelId="{26DCD83C-7EB7-4520-93D8-803D43C8365E}" type="pres">
      <dgm:prSet presAssocID="{4D759C89-D203-431E-AA5A-99588B774AA1}" presName="hierChild4" presStyleCnt="0"/>
      <dgm:spPr/>
    </dgm:pt>
    <dgm:pt modelId="{C74152E2-9E04-49E2-9860-789B4703D6F4}" type="pres">
      <dgm:prSet presAssocID="{99185FB2-4450-4A6E-B17B-B50F7C75745F}" presName="Name37" presStyleLbl="parChTrans1D3" presStyleIdx="4" presStyleCnt="5"/>
      <dgm:spPr/>
    </dgm:pt>
    <dgm:pt modelId="{BE5787EF-9D1F-443D-8186-F0C843A138D5}" type="pres">
      <dgm:prSet presAssocID="{262AAC68-CE95-499D-8EFB-72CD776C2896}" presName="hierRoot2" presStyleCnt="0">
        <dgm:presLayoutVars>
          <dgm:hierBranch val="init"/>
        </dgm:presLayoutVars>
      </dgm:prSet>
      <dgm:spPr/>
    </dgm:pt>
    <dgm:pt modelId="{6BC35456-AC78-4E67-8187-ED832A00686D}" type="pres">
      <dgm:prSet presAssocID="{262AAC68-CE95-499D-8EFB-72CD776C2896}" presName="rootComposite" presStyleCnt="0"/>
      <dgm:spPr/>
    </dgm:pt>
    <dgm:pt modelId="{0A098862-927D-4AF9-826C-AE4554DFAD1A}" type="pres">
      <dgm:prSet presAssocID="{262AAC68-CE95-499D-8EFB-72CD776C2896}" presName="rootText" presStyleLbl="node3" presStyleIdx="4" presStyleCnt="5" custScaleY="146066" custLinFactNeighborX="-1266" custLinFactNeighborY="17724">
        <dgm:presLayoutVars>
          <dgm:chPref val="3"/>
        </dgm:presLayoutVars>
      </dgm:prSet>
      <dgm:spPr/>
    </dgm:pt>
    <dgm:pt modelId="{F1748C9E-9E1B-4B18-8A32-CCB16E9E8DC8}" type="pres">
      <dgm:prSet presAssocID="{262AAC68-CE95-499D-8EFB-72CD776C2896}" presName="rootConnector" presStyleLbl="node3" presStyleIdx="4" presStyleCnt="5"/>
      <dgm:spPr/>
    </dgm:pt>
    <dgm:pt modelId="{1A345A5F-73E5-4F74-9CA9-18BBA7892AB1}" type="pres">
      <dgm:prSet presAssocID="{262AAC68-CE95-499D-8EFB-72CD776C2896}" presName="hierChild4" presStyleCnt="0"/>
      <dgm:spPr/>
    </dgm:pt>
    <dgm:pt modelId="{35088AE2-1BC1-4605-849B-4D3FC758FB82}" type="pres">
      <dgm:prSet presAssocID="{262AAC68-CE95-499D-8EFB-72CD776C2896}" presName="hierChild5" presStyleCnt="0"/>
      <dgm:spPr/>
    </dgm:pt>
    <dgm:pt modelId="{8D0B6384-4504-4E95-8585-75FFC0F451BB}" type="pres">
      <dgm:prSet presAssocID="{4D759C89-D203-431E-AA5A-99588B774AA1}" presName="hierChild5" presStyleCnt="0"/>
      <dgm:spPr/>
    </dgm:pt>
    <dgm:pt modelId="{48BBD174-19EC-4BB2-A3B4-15F86D9C4B9A}" type="pres">
      <dgm:prSet presAssocID="{CC76C20E-041D-41F5-BEA2-15C1FFF26B27}" presName="Name37" presStyleLbl="parChTrans1D2" presStyleIdx="5" presStyleCnt="8"/>
      <dgm:spPr/>
    </dgm:pt>
    <dgm:pt modelId="{9B41A210-8AE1-461D-9DB3-038F15B5D1A5}" type="pres">
      <dgm:prSet presAssocID="{00F9FD57-80F6-4C71-AD43-992445E32C89}" presName="hierRoot2" presStyleCnt="0">
        <dgm:presLayoutVars>
          <dgm:hierBranch val="init"/>
        </dgm:presLayoutVars>
      </dgm:prSet>
      <dgm:spPr/>
    </dgm:pt>
    <dgm:pt modelId="{A9917745-A074-408B-9717-DC4434CF1AA9}" type="pres">
      <dgm:prSet presAssocID="{00F9FD57-80F6-4C71-AD43-992445E32C89}" presName="rootComposite" presStyleCnt="0"/>
      <dgm:spPr/>
    </dgm:pt>
    <dgm:pt modelId="{17B982D1-66E7-44C5-8F51-E0763FC4B52A}" type="pres">
      <dgm:prSet presAssocID="{00F9FD57-80F6-4C71-AD43-992445E32C89}" presName="rootText" presStyleLbl="node2" presStyleIdx="5" presStyleCnt="8" custScaleY="245774">
        <dgm:presLayoutVars>
          <dgm:chPref val="3"/>
        </dgm:presLayoutVars>
      </dgm:prSet>
      <dgm:spPr/>
    </dgm:pt>
    <dgm:pt modelId="{1EC4F76C-316A-4248-8D07-86C1E5E0460E}" type="pres">
      <dgm:prSet presAssocID="{00F9FD57-80F6-4C71-AD43-992445E32C89}" presName="rootConnector" presStyleLbl="node2" presStyleIdx="5" presStyleCnt="8"/>
      <dgm:spPr/>
    </dgm:pt>
    <dgm:pt modelId="{FBEA96E4-AD80-46ED-98DF-C22BE5BC616D}" type="pres">
      <dgm:prSet presAssocID="{00F9FD57-80F6-4C71-AD43-992445E32C89}" presName="hierChild4" presStyleCnt="0"/>
      <dgm:spPr/>
    </dgm:pt>
    <dgm:pt modelId="{8378E905-5BC6-4410-AC58-E5F9F887CC68}" type="pres">
      <dgm:prSet presAssocID="{00F9FD57-80F6-4C71-AD43-992445E32C89}" presName="hierChild5" presStyleCnt="0"/>
      <dgm:spPr/>
    </dgm:pt>
    <dgm:pt modelId="{A537EADF-0540-442F-9CE4-36978F42779D}" type="pres">
      <dgm:prSet presAssocID="{43CD34B8-48FF-4250-9633-C541A4FF62C0}" presName="Name37" presStyleLbl="parChTrans1D2" presStyleIdx="6" presStyleCnt="8"/>
      <dgm:spPr/>
    </dgm:pt>
    <dgm:pt modelId="{B1ADB6C7-A84F-42ED-B2A5-A54BF6BD5CAD}" type="pres">
      <dgm:prSet presAssocID="{66970467-3022-4F57-B7EA-8C430437BCE3}" presName="hierRoot2" presStyleCnt="0">
        <dgm:presLayoutVars>
          <dgm:hierBranch val="init"/>
        </dgm:presLayoutVars>
      </dgm:prSet>
      <dgm:spPr/>
    </dgm:pt>
    <dgm:pt modelId="{B7E86396-08A6-4481-82D7-A6F003741B60}" type="pres">
      <dgm:prSet presAssocID="{66970467-3022-4F57-B7EA-8C430437BCE3}" presName="rootComposite" presStyleCnt="0"/>
      <dgm:spPr/>
    </dgm:pt>
    <dgm:pt modelId="{371E766F-1B6C-4F03-9EE9-EA294AEB18BD}" type="pres">
      <dgm:prSet presAssocID="{66970467-3022-4F57-B7EA-8C430437BCE3}" presName="rootText" presStyleLbl="node2" presStyleIdx="6" presStyleCnt="8" custScaleY="165695">
        <dgm:presLayoutVars>
          <dgm:chPref val="3"/>
        </dgm:presLayoutVars>
      </dgm:prSet>
      <dgm:spPr/>
    </dgm:pt>
    <dgm:pt modelId="{41DE6D48-358B-458E-A43B-AECB5A46830E}" type="pres">
      <dgm:prSet presAssocID="{66970467-3022-4F57-B7EA-8C430437BCE3}" presName="rootConnector" presStyleLbl="node2" presStyleIdx="6" presStyleCnt="8"/>
      <dgm:spPr/>
    </dgm:pt>
    <dgm:pt modelId="{B4002D27-F8AA-48DD-887C-CC7754B98F86}" type="pres">
      <dgm:prSet presAssocID="{66970467-3022-4F57-B7EA-8C430437BCE3}" presName="hierChild4" presStyleCnt="0"/>
      <dgm:spPr/>
    </dgm:pt>
    <dgm:pt modelId="{0A9F2E49-75A7-40BE-9EF0-EBA86D247CD7}" type="pres">
      <dgm:prSet presAssocID="{66970467-3022-4F57-B7EA-8C430437BCE3}" presName="hierChild5" presStyleCnt="0"/>
      <dgm:spPr/>
    </dgm:pt>
    <dgm:pt modelId="{8CB5BB46-A09D-4D62-9A77-93CEAA45ACFC}" type="pres">
      <dgm:prSet presAssocID="{1B23A5EF-5685-4DC4-A75B-14525DFFFB36}" presName="Name37" presStyleLbl="parChTrans1D2" presStyleIdx="7" presStyleCnt="8"/>
      <dgm:spPr/>
    </dgm:pt>
    <dgm:pt modelId="{B596825E-237C-460C-BC75-C72E0C9CB48C}" type="pres">
      <dgm:prSet presAssocID="{4E3E47DB-5AE4-4089-92D9-D1453B20C4A6}" presName="hierRoot2" presStyleCnt="0">
        <dgm:presLayoutVars>
          <dgm:hierBranch val="init"/>
        </dgm:presLayoutVars>
      </dgm:prSet>
      <dgm:spPr/>
    </dgm:pt>
    <dgm:pt modelId="{845BAC1C-4A6C-46F2-BD7D-597E534D3594}" type="pres">
      <dgm:prSet presAssocID="{4E3E47DB-5AE4-4089-92D9-D1453B20C4A6}" presName="rootComposite" presStyleCnt="0"/>
      <dgm:spPr/>
    </dgm:pt>
    <dgm:pt modelId="{65BCD025-670A-4935-99E0-81F307EAB97B}" type="pres">
      <dgm:prSet presAssocID="{4E3E47DB-5AE4-4089-92D9-D1453B20C4A6}" presName="rootText" presStyleLbl="node2" presStyleIdx="7" presStyleCnt="8" custScaleY="254609">
        <dgm:presLayoutVars>
          <dgm:chPref val="3"/>
        </dgm:presLayoutVars>
      </dgm:prSet>
      <dgm:spPr/>
    </dgm:pt>
    <dgm:pt modelId="{2B1447CB-B022-4520-88E7-03B54F43AEBF}" type="pres">
      <dgm:prSet presAssocID="{4E3E47DB-5AE4-4089-92D9-D1453B20C4A6}" presName="rootConnector" presStyleLbl="node2" presStyleIdx="7" presStyleCnt="8"/>
      <dgm:spPr/>
    </dgm:pt>
    <dgm:pt modelId="{0CA391F3-6392-4674-9A8B-2AB863F57D28}" type="pres">
      <dgm:prSet presAssocID="{4E3E47DB-5AE4-4089-92D9-D1453B20C4A6}" presName="hierChild4" presStyleCnt="0"/>
      <dgm:spPr/>
    </dgm:pt>
    <dgm:pt modelId="{A7439E24-C969-43E1-B906-DD3AE51F0D2E}" type="pres">
      <dgm:prSet presAssocID="{4E3E47DB-5AE4-4089-92D9-D1453B20C4A6}" presName="hierChild5" presStyleCnt="0"/>
      <dgm:spPr/>
    </dgm:pt>
    <dgm:pt modelId="{504A4935-0DC1-4A6C-B453-29AD006D5952}" type="pres">
      <dgm:prSet presAssocID="{797A5A7A-63C6-444D-9351-847570F44467}" presName="hierChild3" presStyleCnt="0"/>
      <dgm:spPr/>
    </dgm:pt>
  </dgm:ptLst>
  <dgm:cxnLst>
    <dgm:cxn modelId="{74553503-DBD8-4332-BFEC-95930B54E7D9}" type="presOf" srcId="{5891C059-0BF2-4815-AF70-98AF985FD2E2}" destId="{7B76D1E7-BE37-4688-BEF9-F98260B45766}" srcOrd="0" destOrd="0" presId="urn:microsoft.com/office/officeart/2005/8/layout/orgChart1"/>
    <dgm:cxn modelId="{63271105-0BE8-42CC-9946-8F0686437D63}" type="presOf" srcId="{937E75A1-5287-41AA-8271-416B84A2F16B}" destId="{EA2A1A1D-8230-40BE-A40E-8DD2E45CE17F}" srcOrd="1" destOrd="0" presId="urn:microsoft.com/office/officeart/2005/8/layout/orgChart1"/>
    <dgm:cxn modelId="{402CAC0F-BA40-47A3-B64F-BB39927D78C9}" type="presOf" srcId="{797A5A7A-63C6-444D-9351-847570F44467}" destId="{F3CD31A1-4620-4893-A333-B590253695A9}" srcOrd="1" destOrd="0" presId="urn:microsoft.com/office/officeart/2005/8/layout/orgChart1"/>
    <dgm:cxn modelId="{5C754213-E8CE-41CB-AC11-817890FADCA1}" type="presOf" srcId="{4E3E47DB-5AE4-4089-92D9-D1453B20C4A6}" destId="{65BCD025-670A-4935-99E0-81F307EAB97B}" srcOrd="0" destOrd="0" presId="urn:microsoft.com/office/officeart/2005/8/layout/orgChart1"/>
    <dgm:cxn modelId="{BB576315-D2BD-4F4F-BDC4-8CE9ADCA7CE1}" type="presOf" srcId="{7D0A99FB-5DAE-4660-9C0F-0A949E41532A}" destId="{45315E44-52C1-4260-A409-5D08C3B012F5}" srcOrd="0" destOrd="0" presId="urn:microsoft.com/office/officeart/2005/8/layout/orgChart1"/>
    <dgm:cxn modelId="{CD511A25-52B7-44DD-B8D2-18CEB99C26DD}" type="presOf" srcId="{DD6B98BA-13DB-4D82-BC2C-6FB589B9BBFB}" destId="{1610C381-62D3-447C-A5C6-4587A6886CBD}" srcOrd="0" destOrd="0" presId="urn:microsoft.com/office/officeart/2005/8/layout/orgChart1"/>
    <dgm:cxn modelId="{39BB4225-5669-48A6-8649-1106D79E7EC1}" type="presOf" srcId="{E2454AB0-4136-4790-A145-8A22334F48BC}" destId="{BD69AEB8-D35E-464F-BE58-2FBF6F5A1E3D}" srcOrd="0" destOrd="0" presId="urn:microsoft.com/office/officeart/2005/8/layout/orgChart1"/>
    <dgm:cxn modelId="{5E15CC28-68B5-4285-AB0B-1544E0C9C0E2}" srcId="{797A5A7A-63C6-444D-9351-847570F44467}" destId="{83874FB3-8AEC-4663-9014-439F42813417}" srcOrd="1" destOrd="0" parTransId="{5891C059-0BF2-4815-AF70-98AF985FD2E2}" sibTransId="{C016DE92-8A11-4A43-8BB3-7855DAB7F70A}"/>
    <dgm:cxn modelId="{E936192C-4A0F-43B8-A183-313CEB88ED67}" type="presOf" srcId="{4D759C89-D203-431E-AA5A-99588B774AA1}" destId="{541AD2AE-6491-4CAF-B9DE-E806460CBF93}" srcOrd="1" destOrd="0" presId="urn:microsoft.com/office/officeart/2005/8/layout/orgChart1"/>
    <dgm:cxn modelId="{6B7BD532-5C0D-482E-AFA5-393CDD3245EB}" type="presOf" srcId="{6206B2D4-AB50-4FAD-B6AA-998B31284157}" destId="{D24E863B-F6A2-42FD-9C96-A10399FB010A}" srcOrd="0" destOrd="0" presId="urn:microsoft.com/office/officeart/2005/8/layout/orgChart1"/>
    <dgm:cxn modelId="{BB0E8733-3E71-47C1-B441-D4C0B17691F2}" srcId="{797A5A7A-63C6-444D-9351-847570F44467}" destId="{4E3E47DB-5AE4-4089-92D9-D1453B20C4A6}" srcOrd="7" destOrd="0" parTransId="{1B23A5EF-5685-4DC4-A75B-14525DFFFB36}" sibTransId="{8117DA05-6E3C-479E-8026-9D986EBD603F}"/>
    <dgm:cxn modelId="{6C675634-5611-4229-8B7F-D9110F1C1439}" type="presOf" srcId="{00F9FD57-80F6-4C71-AD43-992445E32C89}" destId="{1EC4F76C-316A-4248-8D07-86C1E5E0460E}" srcOrd="1" destOrd="0" presId="urn:microsoft.com/office/officeart/2005/8/layout/orgChart1"/>
    <dgm:cxn modelId="{CDA8783D-CD7E-4443-853A-E9C69376E44E}" type="presOf" srcId="{5C9DEBF6-3CC7-4C86-9A27-87C923279825}" destId="{80F370F8-7065-4359-9E89-D7505F97F968}" srcOrd="1" destOrd="0" presId="urn:microsoft.com/office/officeart/2005/8/layout/orgChart1"/>
    <dgm:cxn modelId="{F9785E3F-7190-4A98-B482-49B68405833D}" type="presOf" srcId="{4E3E47DB-5AE4-4089-92D9-D1453B20C4A6}" destId="{2B1447CB-B022-4520-88E7-03B54F43AEBF}" srcOrd="1" destOrd="0" presId="urn:microsoft.com/office/officeart/2005/8/layout/orgChart1"/>
    <dgm:cxn modelId="{3BE3045D-9F0A-437D-BD62-66590DD124D6}" srcId="{83874FB3-8AEC-4663-9014-439F42813417}" destId="{7D0A99FB-5DAE-4660-9C0F-0A949E41532A}" srcOrd="0" destOrd="0" parTransId="{AB68697E-FBBB-4D6D-8B98-348085EFF853}" sibTransId="{F50DC822-ADB3-4358-B8B2-A13B663D479E}"/>
    <dgm:cxn modelId="{92D03E5F-B559-4EC4-9FE4-C2E3F53D2DF1}" type="presOf" srcId="{AF31D313-2366-4ACD-9242-DE3A0FA757E3}" destId="{698E2D6B-5EFF-4C39-A7F1-89E07620B287}" srcOrd="1" destOrd="0" presId="urn:microsoft.com/office/officeart/2005/8/layout/orgChart1"/>
    <dgm:cxn modelId="{E8BC5541-C604-4567-BB06-87DCC9A635CA}" srcId="{934694CE-312C-4764-88CD-C5ED8A4B9C14}" destId="{E2454AB0-4136-4790-A145-8A22334F48BC}" srcOrd="0" destOrd="0" parTransId="{958F9068-222C-4BB6-95DB-71743F81A23D}" sibTransId="{7B13FD1D-F5B9-493E-BE20-B6CD9B9DD0A6}"/>
    <dgm:cxn modelId="{8E14B044-FE28-49FD-AEFC-9963360DB145}" srcId="{934694CE-312C-4764-88CD-C5ED8A4B9C14}" destId="{12F83E17-A929-41FE-80CE-06082A8A0ECB}" srcOrd="1" destOrd="0" parTransId="{CC2CA859-6084-4A4F-8D42-464D6DC0DE5A}" sibTransId="{DDDB7FDB-2598-4BEE-A70C-1F2A2F58CDE4}"/>
    <dgm:cxn modelId="{D645FF44-C2DC-492C-935B-9590EF33CD35}" srcId="{797A5A7A-63C6-444D-9351-847570F44467}" destId="{934694CE-312C-4764-88CD-C5ED8A4B9C14}" srcOrd="3" destOrd="0" parTransId="{CC205BAE-0556-4E3F-9038-6F9109CDAFA3}" sibTransId="{7248A745-018E-43E8-AF0F-E11D5D6ADCF4}"/>
    <dgm:cxn modelId="{17706169-B1B7-4C0D-8851-2E82C97C0CD9}" type="presOf" srcId="{797A5A7A-63C6-444D-9351-847570F44467}" destId="{52459522-129A-4814-A524-1B7B12ED84FF}" srcOrd="0" destOrd="0" presId="urn:microsoft.com/office/officeart/2005/8/layout/orgChart1"/>
    <dgm:cxn modelId="{FC9C334B-7998-4833-881A-93AE84CB0101}" type="presOf" srcId="{43CD34B8-48FF-4250-9633-C541A4FF62C0}" destId="{A537EADF-0540-442F-9CE4-36978F42779D}" srcOrd="0" destOrd="0" presId="urn:microsoft.com/office/officeart/2005/8/layout/orgChart1"/>
    <dgm:cxn modelId="{ABED454B-03A6-4304-A063-30FA38474864}" type="presOf" srcId="{E2454AB0-4136-4790-A145-8A22334F48BC}" destId="{41A48E1F-A71C-4F36-81B7-A10DF46D023B}" srcOrd="1" destOrd="0" presId="urn:microsoft.com/office/officeart/2005/8/layout/orgChart1"/>
    <dgm:cxn modelId="{C525DF6D-10ED-49C9-92D2-6EE5537A76A5}" type="presOf" srcId="{83874FB3-8AEC-4663-9014-439F42813417}" destId="{0801DB10-E965-43F3-9AF3-B90FBE09FB03}" srcOrd="0" destOrd="0" presId="urn:microsoft.com/office/officeart/2005/8/layout/orgChart1"/>
    <dgm:cxn modelId="{9524A14F-B6BD-4A23-817B-145844C92EC0}" type="presOf" srcId="{12F83E17-A929-41FE-80CE-06082A8A0ECB}" destId="{C01CED70-C573-4324-8B31-2C11A5049EA8}" srcOrd="0" destOrd="0" presId="urn:microsoft.com/office/officeart/2005/8/layout/orgChart1"/>
    <dgm:cxn modelId="{1B5EF552-789C-4994-A77F-BC879B617C3B}" type="presOf" srcId="{CC76C20E-041D-41F5-BEA2-15C1FFF26B27}" destId="{48BBD174-19EC-4BB2-A3B4-15F86D9C4B9A}" srcOrd="0" destOrd="0" presId="urn:microsoft.com/office/officeart/2005/8/layout/orgChart1"/>
    <dgm:cxn modelId="{FBADF374-E670-4E73-9E66-3BF766F171F8}" srcId="{797A5A7A-63C6-444D-9351-847570F44467}" destId="{5C9DEBF6-3CC7-4C86-9A27-87C923279825}" srcOrd="2" destOrd="0" parTransId="{DD6B98BA-13DB-4D82-BC2C-6FB589B9BBFB}" sibTransId="{71162FD4-9B93-4F9A-8F1F-58E4F186FA63}"/>
    <dgm:cxn modelId="{2D45D777-D016-429C-84DF-BD5C12409D21}" type="presOf" srcId="{262AAC68-CE95-499D-8EFB-72CD776C2896}" destId="{0A098862-927D-4AF9-826C-AE4554DFAD1A}" srcOrd="0" destOrd="0" presId="urn:microsoft.com/office/officeart/2005/8/layout/orgChart1"/>
    <dgm:cxn modelId="{34177A5A-1D5A-4AE1-9C48-A44000B88C86}" type="presOf" srcId="{E463D1D2-5BC8-47F3-B67B-CDBED5DE9CC7}" destId="{100FE8FC-08FB-454C-B66D-5E468A21570B}" srcOrd="0" destOrd="0" presId="urn:microsoft.com/office/officeart/2005/8/layout/orgChart1"/>
    <dgm:cxn modelId="{D765EC5A-68AE-4685-95C9-3DFEC47F2F27}" srcId="{C3011F3D-E8AE-430E-81C0-6E87F3EEC108}" destId="{797A5A7A-63C6-444D-9351-847570F44467}" srcOrd="0" destOrd="0" parTransId="{8A78445A-86F5-4538-AC95-A6F055561B5B}" sibTransId="{7D1F7347-B3F3-43E0-9F99-FA72457DFFA5}"/>
    <dgm:cxn modelId="{B64E727B-CDC4-4C91-A9E9-10391A4CE352}" type="presOf" srcId="{AB68697E-FBBB-4D6D-8B98-348085EFF853}" destId="{86EB34B1-9148-48B9-8A57-981161DED4D2}" srcOrd="0" destOrd="0" presId="urn:microsoft.com/office/officeart/2005/8/layout/orgChart1"/>
    <dgm:cxn modelId="{9F767480-FBE6-4688-AFA5-CB384A7D4C82}" type="presOf" srcId="{934694CE-312C-4764-88CD-C5ED8A4B9C14}" destId="{B56BF1A2-548A-41DD-9181-9755303256E4}" srcOrd="0" destOrd="0" presId="urn:microsoft.com/office/officeart/2005/8/layout/orgChart1"/>
    <dgm:cxn modelId="{E85E5082-7BAE-4C71-AD22-948D033F7053}" type="presOf" srcId="{958F9068-222C-4BB6-95DB-71743F81A23D}" destId="{CD193866-CAA4-4837-B273-13597F46A2C8}" srcOrd="0" destOrd="0" presId="urn:microsoft.com/office/officeart/2005/8/layout/orgChart1"/>
    <dgm:cxn modelId="{4259F585-E710-42AD-BCA6-3E92C623604E}" type="presOf" srcId="{1B23A5EF-5685-4DC4-A75B-14525DFFFB36}" destId="{8CB5BB46-A09D-4D62-9A77-93CEAA45ACFC}" srcOrd="0" destOrd="0" presId="urn:microsoft.com/office/officeart/2005/8/layout/orgChart1"/>
    <dgm:cxn modelId="{66AC648A-28DA-4D6E-95B7-3276B08D1309}" type="presOf" srcId="{83874FB3-8AEC-4663-9014-439F42813417}" destId="{3A6FDCFF-21B1-4B29-A2DC-F77B8B00B783}" srcOrd="1" destOrd="0" presId="urn:microsoft.com/office/officeart/2005/8/layout/orgChart1"/>
    <dgm:cxn modelId="{33E07C8F-D996-4A58-8586-CB6E7592922A}" type="presOf" srcId="{12F83E17-A929-41FE-80CE-06082A8A0ECB}" destId="{36312F3A-ABE6-4261-9000-6384749DBE2B}" srcOrd="1" destOrd="0" presId="urn:microsoft.com/office/officeart/2005/8/layout/orgChart1"/>
    <dgm:cxn modelId="{A4C03392-FEEF-4CCE-AD77-09ECBA3627BF}" srcId="{797A5A7A-63C6-444D-9351-847570F44467}" destId="{937E75A1-5287-41AA-8271-416B84A2F16B}" srcOrd="0" destOrd="0" parTransId="{6206B2D4-AB50-4FAD-B6AA-998B31284157}" sibTransId="{626D8F0C-B492-4BA8-81C3-D2CF32539E54}"/>
    <dgm:cxn modelId="{FEBDAE93-10F0-4901-AFF0-7260EE8A2738}" type="presOf" srcId="{CC2CA859-6084-4A4F-8D42-464D6DC0DE5A}" destId="{95305584-09E4-4168-A629-2454BAA89621}" srcOrd="0" destOrd="0" presId="urn:microsoft.com/office/officeart/2005/8/layout/orgChart1"/>
    <dgm:cxn modelId="{4885BA94-2B73-425A-9F3A-40902CD2B3B3}" srcId="{797A5A7A-63C6-444D-9351-847570F44467}" destId="{4D759C89-D203-431E-AA5A-99588B774AA1}" srcOrd="4" destOrd="0" parTransId="{0FF521B8-B191-47A8-848F-F44CB764AF12}" sibTransId="{10A8A46E-9266-4788-A8CA-60594784C983}"/>
    <dgm:cxn modelId="{2A7C2995-EB2B-486E-9466-73B03F894F6A}" type="presOf" srcId="{99185FB2-4450-4A6E-B17B-B50F7C75745F}" destId="{C74152E2-9E04-49E2-9860-789B4703D6F4}" srcOrd="0" destOrd="0" presId="urn:microsoft.com/office/officeart/2005/8/layout/orgChart1"/>
    <dgm:cxn modelId="{77D26795-0165-4998-98CD-98924C0A4A5B}" type="presOf" srcId="{66970467-3022-4F57-B7EA-8C430437BCE3}" destId="{41DE6D48-358B-458E-A43B-AECB5A46830E}" srcOrd="1" destOrd="0" presId="urn:microsoft.com/office/officeart/2005/8/layout/orgChart1"/>
    <dgm:cxn modelId="{A2883399-8D0D-4D73-A5F7-C5648406A5A8}" type="presOf" srcId="{66970467-3022-4F57-B7EA-8C430437BCE3}" destId="{371E766F-1B6C-4F03-9EE9-EA294AEB18BD}" srcOrd="0" destOrd="0" presId="urn:microsoft.com/office/officeart/2005/8/layout/orgChart1"/>
    <dgm:cxn modelId="{CDCF8AA1-719E-4983-B1A9-C10CF490694F}" type="presOf" srcId="{262AAC68-CE95-499D-8EFB-72CD776C2896}" destId="{F1748C9E-9E1B-4B18-8A32-CCB16E9E8DC8}" srcOrd="1" destOrd="0" presId="urn:microsoft.com/office/officeart/2005/8/layout/orgChart1"/>
    <dgm:cxn modelId="{CC3CE4A4-0825-470E-B74B-2F2C97B2CDE3}" srcId="{4D759C89-D203-431E-AA5A-99588B774AA1}" destId="{262AAC68-CE95-499D-8EFB-72CD776C2896}" srcOrd="0" destOrd="0" parTransId="{99185FB2-4450-4A6E-B17B-B50F7C75745F}" sibTransId="{750A6F83-92B8-432E-BAA9-3A984A0BF536}"/>
    <dgm:cxn modelId="{E9BAA3AB-5504-44C5-A814-F80A1E13410B}" srcId="{797A5A7A-63C6-444D-9351-847570F44467}" destId="{00F9FD57-80F6-4C71-AD43-992445E32C89}" srcOrd="5" destOrd="0" parTransId="{CC76C20E-041D-41F5-BEA2-15C1FFF26B27}" sibTransId="{37792D33-1CB7-46CB-AC40-D9F86D154950}"/>
    <dgm:cxn modelId="{F80E71B1-63DE-447A-B851-76D568B85B51}" type="presOf" srcId="{00F9FD57-80F6-4C71-AD43-992445E32C89}" destId="{17B982D1-66E7-44C5-8F51-E0763FC4B52A}" srcOrd="0" destOrd="0" presId="urn:microsoft.com/office/officeart/2005/8/layout/orgChart1"/>
    <dgm:cxn modelId="{09A0BEB2-7B6F-4303-85C8-13E4D36FE6D4}" type="presOf" srcId="{C3011F3D-E8AE-430E-81C0-6E87F3EEC108}" destId="{2DCB5798-8B3B-48CB-9F19-10D813DA6FA9}" srcOrd="0" destOrd="0" presId="urn:microsoft.com/office/officeart/2005/8/layout/orgChart1"/>
    <dgm:cxn modelId="{AC89D9B2-AFB4-41E0-B7C1-4C1995094D5F}" type="presOf" srcId="{7D0A99FB-5DAE-4660-9C0F-0A949E41532A}" destId="{C6C1F898-C2CD-4DF5-82A0-437A11725D3E}" srcOrd="1" destOrd="0" presId="urn:microsoft.com/office/officeart/2005/8/layout/orgChart1"/>
    <dgm:cxn modelId="{71D90DBA-DBFC-40F1-9681-F93FD39CA476}" type="presOf" srcId="{4D759C89-D203-431E-AA5A-99588B774AA1}" destId="{A9F2C550-EA53-43FD-A0FB-484C52E3FD9B}" srcOrd="0" destOrd="0" presId="urn:microsoft.com/office/officeart/2005/8/layout/orgChart1"/>
    <dgm:cxn modelId="{C675FBCC-B3AF-47F0-88C3-FD8B44A65E52}" srcId="{797A5A7A-63C6-444D-9351-847570F44467}" destId="{66970467-3022-4F57-B7EA-8C430437BCE3}" srcOrd="6" destOrd="0" parTransId="{43CD34B8-48FF-4250-9633-C541A4FF62C0}" sibTransId="{095E5559-285C-4DB2-96AE-23FB6B18AAC0}"/>
    <dgm:cxn modelId="{F6C246D6-C7BB-4A44-878A-6B8E9E6F1871}" type="presOf" srcId="{5C9DEBF6-3CC7-4C86-9A27-87C923279825}" destId="{2422063D-3760-4973-924A-C7A35B6F183A}" srcOrd="0" destOrd="0" presId="urn:microsoft.com/office/officeart/2005/8/layout/orgChart1"/>
    <dgm:cxn modelId="{CA010DDC-7C57-4571-BE20-72FE79AE47BD}" type="presOf" srcId="{937E75A1-5287-41AA-8271-416B84A2F16B}" destId="{FF8FCA23-D619-4B04-BAC0-79114137DBB5}" srcOrd="0" destOrd="0" presId="urn:microsoft.com/office/officeart/2005/8/layout/orgChart1"/>
    <dgm:cxn modelId="{A10986E1-FAC5-4A51-B53A-52518A5F0F15}" type="presOf" srcId="{934694CE-312C-4764-88CD-C5ED8A4B9C14}" destId="{5CC96299-C941-49EA-AB15-60A948CB1096}" srcOrd="1" destOrd="0" presId="urn:microsoft.com/office/officeart/2005/8/layout/orgChart1"/>
    <dgm:cxn modelId="{78DC27EA-92E0-4D31-8539-60644F731349}" type="presOf" srcId="{0FF521B8-B191-47A8-848F-F44CB764AF12}" destId="{B55ED671-F552-4982-841F-608905806176}" srcOrd="0" destOrd="0" presId="urn:microsoft.com/office/officeart/2005/8/layout/orgChart1"/>
    <dgm:cxn modelId="{781F00F7-2401-4D26-831A-D2D6BBA00AA3}" type="presOf" srcId="{AF31D313-2366-4ACD-9242-DE3A0FA757E3}" destId="{6F88843C-A2CB-46A2-81C0-7E7DF6892CA8}" srcOrd="0" destOrd="0" presId="urn:microsoft.com/office/officeart/2005/8/layout/orgChart1"/>
    <dgm:cxn modelId="{F71BB0F8-D8F7-443D-AE2E-F8508675F8A0}" srcId="{934694CE-312C-4764-88CD-C5ED8A4B9C14}" destId="{AF31D313-2366-4ACD-9242-DE3A0FA757E3}" srcOrd="2" destOrd="0" parTransId="{E463D1D2-5BC8-47F3-B67B-CDBED5DE9CC7}" sibTransId="{085E57BE-B616-4AE8-8FDE-87154C4C379C}"/>
    <dgm:cxn modelId="{B160ABFB-4D77-4D9A-8155-5155A74388A3}" type="presOf" srcId="{CC205BAE-0556-4E3F-9038-6F9109CDAFA3}" destId="{F7BCE9C8-94B0-4C91-9B5B-081381254ACB}" srcOrd="0" destOrd="0" presId="urn:microsoft.com/office/officeart/2005/8/layout/orgChart1"/>
    <dgm:cxn modelId="{48DD8EED-5CB7-4307-85AE-BDBC54950812}" type="presParOf" srcId="{2DCB5798-8B3B-48CB-9F19-10D813DA6FA9}" destId="{A2C7FD58-0E1E-4D82-BB48-F6C30D016E70}" srcOrd="0" destOrd="0" presId="urn:microsoft.com/office/officeart/2005/8/layout/orgChart1"/>
    <dgm:cxn modelId="{CEFC44AE-FFB9-47AA-8DA5-6736498DA7A6}" type="presParOf" srcId="{A2C7FD58-0E1E-4D82-BB48-F6C30D016E70}" destId="{F4F62070-24E4-40E2-8D2C-00B079591FAC}" srcOrd="0" destOrd="0" presId="urn:microsoft.com/office/officeart/2005/8/layout/orgChart1"/>
    <dgm:cxn modelId="{F782DC34-F5E1-49F3-8F91-6C3E99266D38}" type="presParOf" srcId="{F4F62070-24E4-40E2-8D2C-00B079591FAC}" destId="{52459522-129A-4814-A524-1B7B12ED84FF}" srcOrd="0" destOrd="0" presId="urn:microsoft.com/office/officeart/2005/8/layout/orgChart1"/>
    <dgm:cxn modelId="{CF33FE58-9B6D-47F1-AEBD-81335B54D792}" type="presParOf" srcId="{F4F62070-24E4-40E2-8D2C-00B079591FAC}" destId="{F3CD31A1-4620-4893-A333-B590253695A9}" srcOrd="1" destOrd="0" presId="urn:microsoft.com/office/officeart/2005/8/layout/orgChart1"/>
    <dgm:cxn modelId="{70A5C397-F2CC-4F4D-80D4-4C6FD2EE6BA5}" type="presParOf" srcId="{A2C7FD58-0E1E-4D82-BB48-F6C30D016E70}" destId="{81983324-DBED-4313-82CD-7F665ED5BF2A}" srcOrd="1" destOrd="0" presId="urn:microsoft.com/office/officeart/2005/8/layout/orgChart1"/>
    <dgm:cxn modelId="{0838C3DF-D65F-48D4-A48D-E8340513C6BA}" type="presParOf" srcId="{81983324-DBED-4313-82CD-7F665ED5BF2A}" destId="{D24E863B-F6A2-42FD-9C96-A10399FB010A}" srcOrd="0" destOrd="0" presId="urn:microsoft.com/office/officeart/2005/8/layout/orgChart1"/>
    <dgm:cxn modelId="{C75A09A6-21FA-4BA0-9499-50D5B1897417}" type="presParOf" srcId="{81983324-DBED-4313-82CD-7F665ED5BF2A}" destId="{FF925AA3-B204-453C-B523-497D8EA2AD91}" srcOrd="1" destOrd="0" presId="urn:microsoft.com/office/officeart/2005/8/layout/orgChart1"/>
    <dgm:cxn modelId="{9BAC3BC2-12CF-47DC-8D2E-EBB91E5EAA07}" type="presParOf" srcId="{FF925AA3-B204-453C-B523-497D8EA2AD91}" destId="{5D8C184F-1CF4-4444-BD26-8DC58C48478E}" srcOrd="0" destOrd="0" presId="urn:microsoft.com/office/officeart/2005/8/layout/orgChart1"/>
    <dgm:cxn modelId="{C9F70C8F-5381-404D-8D6D-F2334DEFE094}" type="presParOf" srcId="{5D8C184F-1CF4-4444-BD26-8DC58C48478E}" destId="{FF8FCA23-D619-4B04-BAC0-79114137DBB5}" srcOrd="0" destOrd="0" presId="urn:microsoft.com/office/officeart/2005/8/layout/orgChart1"/>
    <dgm:cxn modelId="{18944885-F3AA-4EEF-81DF-4727692BDAA1}" type="presParOf" srcId="{5D8C184F-1CF4-4444-BD26-8DC58C48478E}" destId="{EA2A1A1D-8230-40BE-A40E-8DD2E45CE17F}" srcOrd="1" destOrd="0" presId="urn:microsoft.com/office/officeart/2005/8/layout/orgChart1"/>
    <dgm:cxn modelId="{159C28F6-C9A0-425D-8452-A71355FE0C9D}" type="presParOf" srcId="{FF925AA3-B204-453C-B523-497D8EA2AD91}" destId="{42C09568-7D59-4265-BFE1-D40B1F7A4379}" srcOrd="1" destOrd="0" presId="urn:microsoft.com/office/officeart/2005/8/layout/orgChart1"/>
    <dgm:cxn modelId="{A319E12E-9DE7-4922-9A3C-2BFCB75743AF}" type="presParOf" srcId="{FF925AA3-B204-453C-B523-497D8EA2AD91}" destId="{39E6D2E6-0062-43B6-A64E-EA16EF3229D5}" srcOrd="2" destOrd="0" presId="urn:microsoft.com/office/officeart/2005/8/layout/orgChart1"/>
    <dgm:cxn modelId="{D38528D8-051F-43C5-B75D-021AC925C40C}" type="presParOf" srcId="{81983324-DBED-4313-82CD-7F665ED5BF2A}" destId="{7B76D1E7-BE37-4688-BEF9-F98260B45766}" srcOrd="2" destOrd="0" presId="urn:microsoft.com/office/officeart/2005/8/layout/orgChart1"/>
    <dgm:cxn modelId="{D6EFE002-BE2A-4C2B-8A71-B74BEB18879F}" type="presParOf" srcId="{81983324-DBED-4313-82CD-7F665ED5BF2A}" destId="{956C5B41-995D-4E83-8E3C-C61640A4806C}" srcOrd="3" destOrd="0" presId="urn:microsoft.com/office/officeart/2005/8/layout/orgChart1"/>
    <dgm:cxn modelId="{4036B006-55C2-4BB7-97FF-F3046C11FD15}" type="presParOf" srcId="{956C5B41-995D-4E83-8E3C-C61640A4806C}" destId="{6EE8D038-4F38-45ED-AA04-FDB67B9CC320}" srcOrd="0" destOrd="0" presId="urn:microsoft.com/office/officeart/2005/8/layout/orgChart1"/>
    <dgm:cxn modelId="{7883553D-0D5F-4E2B-BAD8-6F0BD03975A4}" type="presParOf" srcId="{6EE8D038-4F38-45ED-AA04-FDB67B9CC320}" destId="{0801DB10-E965-43F3-9AF3-B90FBE09FB03}" srcOrd="0" destOrd="0" presId="urn:microsoft.com/office/officeart/2005/8/layout/orgChart1"/>
    <dgm:cxn modelId="{D363A613-9650-4B73-A5B6-DCDC3FBE2993}" type="presParOf" srcId="{6EE8D038-4F38-45ED-AA04-FDB67B9CC320}" destId="{3A6FDCFF-21B1-4B29-A2DC-F77B8B00B783}" srcOrd="1" destOrd="0" presId="urn:microsoft.com/office/officeart/2005/8/layout/orgChart1"/>
    <dgm:cxn modelId="{D6C52267-4C38-4333-863E-E5FF2CE68A88}" type="presParOf" srcId="{956C5B41-995D-4E83-8E3C-C61640A4806C}" destId="{C14D3AC9-5388-4565-A7A1-84C6A46B851D}" srcOrd="1" destOrd="0" presId="urn:microsoft.com/office/officeart/2005/8/layout/orgChart1"/>
    <dgm:cxn modelId="{B7CDEF3F-5395-48C4-83F9-CFE72052C6F5}" type="presParOf" srcId="{C14D3AC9-5388-4565-A7A1-84C6A46B851D}" destId="{86EB34B1-9148-48B9-8A57-981161DED4D2}" srcOrd="0" destOrd="0" presId="urn:microsoft.com/office/officeart/2005/8/layout/orgChart1"/>
    <dgm:cxn modelId="{DF83239E-869A-4B1A-8F4E-3A1B722FCA74}" type="presParOf" srcId="{C14D3AC9-5388-4565-A7A1-84C6A46B851D}" destId="{3A706CE3-E04F-422C-9EC0-1B3C5CF6A390}" srcOrd="1" destOrd="0" presId="urn:microsoft.com/office/officeart/2005/8/layout/orgChart1"/>
    <dgm:cxn modelId="{D8FEA40B-ADFD-4CE7-815D-1B1E5BC8CD2C}" type="presParOf" srcId="{3A706CE3-E04F-422C-9EC0-1B3C5CF6A390}" destId="{A3DE45E8-6FC4-4D2F-A618-00E8D34AD83E}" srcOrd="0" destOrd="0" presId="urn:microsoft.com/office/officeart/2005/8/layout/orgChart1"/>
    <dgm:cxn modelId="{3B3AC6E6-6FBB-4FDA-9A2B-F28822B77D9B}" type="presParOf" srcId="{A3DE45E8-6FC4-4D2F-A618-00E8D34AD83E}" destId="{45315E44-52C1-4260-A409-5D08C3B012F5}" srcOrd="0" destOrd="0" presId="urn:microsoft.com/office/officeart/2005/8/layout/orgChart1"/>
    <dgm:cxn modelId="{AC478769-105B-4F07-A0ED-2F9DE2781A1E}" type="presParOf" srcId="{A3DE45E8-6FC4-4D2F-A618-00E8D34AD83E}" destId="{C6C1F898-C2CD-4DF5-82A0-437A11725D3E}" srcOrd="1" destOrd="0" presId="urn:microsoft.com/office/officeart/2005/8/layout/orgChart1"/>
    <dgm:cxn modelId="{585EE3B7-CC01-4956-9E85-05099E327676}" type="presParOf" srcId="{3A706CE3-E04F-422C-9EC0-1B3C5CF6A390}" destId="{604C3211-BDE8-4094-A515-A53605BF7B73}" srcOrd="1" destOrd="0" presId="urn:microsoft.com/office/officeart/2005/8/layout/orgChart1"/>
    <dgm:cxn modelId="{35D13BAD-393E-456B-9A7C-8362AB19DEF6}" type="presParOf" srcId="{3A706CE3-E04F-422C-9EC0-1B3C5CF6A390}" destId="{6CE6946E-38F6-4EA6-B04F-4534EA6264EC}" srcOrd="2" destOrd="0" presId="urn:microsoft.com/office/officeart/2005/8/layout/orgChart1"/>
    <dgm:cxn modelId="{B260B625-B419-400E-9349-AA448B1B7FEA}" type="presParOf" srcId="{956C5B41-995D-4E83-8E3C-C61640A4806C}" destId="{FCEF9A63-B80E-424E-B174-B0BF6825733C}" srcOrd="2" destOrd="0" presId="urn:microsoft.com/office/officeart/2005/8/layout/orgChart1"/>
    <dgm:cxn modelId="{182BA2DF-6F1B-4EB0-B328-3A92797C2D6E}" type="presParOf" srcId="{81983324-DBED-4313-82CD-7F665ED5BF2A}" destId="{1610C381-62D3-447C-A5C6-4587A6886CBD}" srcOrd="4" destOrd="0" presId="urn:microsoft.com/office/officeart/2005/8/layout/orgChart1"/>
    <dgm:cxn modelId="{A3C7A4C6-15FB-45C3-84FA-D8FF4FF0A2AE}" type="presParOf" srcId="{81983324-DBED-4313-82CD-7F665ED5BF2A}" destId="{07E37034-94B8-44CF-92A4-168376FEC79B}" srcOrd="5" destOrd="0" presId="urn:microsoft.com/office/officeart/2005/8/layout/orgChart1"/>
    <dgm:cxn modelId="{37AD697B-A035-4B01-9DFB-9379C50EAB3D}" type="presParOf" srcId="{07E37034-94B8-44CF-92A4-168376FEC79B}" destId="{6483698C-5AFC-441E-B69A-385EFA752048}" srcOrd="0" destOrd="0" presId="urn:microsoft.com/office/officeart/2005/8/layout/orgChart1"/>
    <dgm:cxn modelId="{CC39403D-62C6-4461-9AB9-8651E43DE4E4}" type="presParOf" srcId="{6483698C-5AFC-441E-B69A-385EFA752048}" destId="{2422063D-3760-4973-924A-C7A35B6F183A}" srcOrd="0" destOrd="0" presId="urn:microsoft.com/office/officeart/2005/8/layout/orgChart1"/>
    <dgm:cxn modelId="{8B6C32FE-7FB4-413C-8B8A-8337F7F2CD01}" type="presParOf" srcId="{6483698C-5AFC-441E-B69A-385EFA752048}" destId="{80F370F8-7065-4359-9E89-D7505F97F968}" srcOrd="1" destOrd="0" presId="urn:microsoft.com/office/officeart/2005/8/layout/orgChart1"/>
    <dgm:cxn modelId="{C8BA9A54-5BDF-4EF9-B0E9-6861BCFE6A61}" type="presParOf" srcId="{07E37034-94B8-44CF-92A4-168376FEC79B}" destId="{EA93547E-1ED3-42FA-A739-7414FF7945A1}" srcOrd="1" destOrd="0" presId="urn:microsoft.com/office/officeart/2005/8/layout/orgChart1"/>
    <dgm:cxn modelId="{A31C5AD7-8B12-4457-93A7-0B91FFFBB96F}" type="presParOf" srcId="{07E37034-94B8-44CF-92A4-168376FEC79B}" destId="{6C0684A7-8950-41EC-AB7D-3618EBD25F0C}" srcOrd="2" destOrd="0" presId="urn:microsoft.com/office/officeart/2005/8/layout/orgChart1"/>
    <dgm:cxn modelId="{0EDF3C23-92E3-4A9B-A401-67882114F4DE}" type="presParOf" srcId="{81983324-DBED-4313-82CD-7F665ED5BF2A}" destId="{F7BCE9C8-94B0-4C91-9B5B-081381254ACB}" srcOrd="6" destOrd="0" presId="urn:microsoft.com/office/officeart/2005/8/layout/orgChart1"/>
    <dgm:cxn modelId="{ED89719A-9C46-483C-BCB3-B41813943E79}" type="presParOf" srcId="{81983324-DBED-4313-82CD-7F665ED5BF2A}" destId="{69F19F50-D201-42E6-A9E8-C9592BD1C4B6}" srcOrd="7" destOrd="0" presId="urn:microsoft.com/office/officeart/2005/8/layout/orgChart1"/>
    <dgm:cxn modelId="{2E2E3B4A-2251-4722-900D-ED84A79790BA}" type="presParOf" srcId="{69F19F50-D201-42E6-A9E8-C9592BD1C4B6}" destId="{5AC7656C-6F70-4E93-BD23-D62592946868}" srcOrd="0" destOrd="0" presId="urn:microsoft.com/office/officeart/2005/8/layout/orgChart1"/>
    <dgm:cxn modelId="{D1E35BAA-9E33-4CAB-8251-AAF543C9F5D6}" type="presParOf" srcId="{5AC7656C-6F70-4E93-BD23-D62592946868}" destId="{B56BF1A2-548A-41DD-9181-9755303256E4}" srcOrd="0" destOrd="0" presId="urn:microsoft.com/office/officeart/2005/8/layout/orgChart1"/>
    <dgm:cxn modelId="{B799C5C4-67BA-428F-AA06-F708A9344EC2}" type="presParOf" srcId="{5AC7656C-6F70-4E93-BD23-D62592946868}" destId="{5CC96299-C941-49EA-AB15-60A948CB1096}" srcOrd="1" destOrd="0" presId="urn:microsoft.com/office/officeart/2005/8/layout/orgChart1"/>
    <dgm:cxn modelId="{6E4C55C6-9732-4F7A-9166-9593EC2429DA}" type="presParOf" srcId="{69F19F50-D201-42E6-A9E8-C9592BD1C4B6}" destId="{A5A6FB06-E6E1-4A35-B197-EDD1C65347D1}" srcOrd="1" destOrd="0" presId="urn:microsoft.com/office/officeart/2005/8/layout/orgChart1"/>
    <dgm:cxn modelId="{BE3E6131-2DAD-430A-955B-91DA815ED2A4}" type="presParOf" srcId="{A5A6FB06-E6E1-4A35-B197-EDD1C65347D1}" destId="{CD193866-CAA4-4837-B273-13597F46A2C8}" srcOrd="0" destOrd="0" presId="urn:microsoft.com/office/officeart/2005/8/layout/orgChart1"/>
    <dgm:cxn modelId="{2B3C9A8E-D79D-49D5-A79A-E19841D145EF}" type="presParOf" srcId="{A5A6FB06-E6E1-4A35-B197-EDD1C65347D1}" destId="{8C2CE9B7-0531-4AF6-B43C-2B7CFEB0D6CB}" srcOrd="1" destOrd="0" presId="urn:microsoft.com/office/officeart/2005/8/layout/orgChart1"/>
    <dgm:cxn modelId="{B84AD19D-D3A5-4472-99B7-9BBE97368EAF}" type="presParOf" srcId="{8C2CE9B7-0531-4AF6-B43C-2B7CFEB0D6CB}" destId="{5CF9BE9D-ABED-43ED-9A32-4196ED987FAE}" srcOrd="0" destOrd="0" presId="urn:microsoft.com/office/officeart/2005/8/layout/orgChart1"/>
    <dgm:cxn modelId="{28FCA3E6-44CA-4B63-8F90-031F657215A7}" type="presParOf" srcId="{5CF9BE9D-ABED-43ED-9A32-4196ED987FAE}" destId="{BD69AEB8-D35E-464F-BE58-2FBF6F5A1E3D}" srcOrd="0" destOrd="0" presId="urn:microsoft.com/office/officeart/2005/8/layout/orgChart1"/>
    <dgm:cxn modelId="{B2371616-E370-4793-A895-B1D76EB4B07B}" type="presParOf" srcId="{5CF9BE9D-ABED-43ED-9A32-4196ED987FAE}" destId="{41A48E1F-A71C-4F36-81B7-A10DF46D023B}" srcOrd="1" destOrd="0" presId="urn:microsoft.com/office/officeart/2005/8/layout/orgChart1"/>
    <dgm:cxn modelId="{38403BBD-38FA-4519-95C4-3A8736505A85}" type="presParOf" srcId="{8C2CE9B7-0531-4AF6-B43C-2B7CFEB0D6CB}" destId="{1852C593-754A-4804-BE12-F9F5ECE1E47C}" srcOrd="1" destOrd="0" presId="urn:microsoft.com/office/officeart/2005/8/layout/orgChart1"/>
    <dgm:cxn modelId="{3E2DFFC3-03FF-4D89-B73B-D2C9C666EF3C}" type="presParOf" srcId="{8C2CE9B7-0531-4AF6-B43C-2B7CFEB0D6CB}" destId="{3F0D2509-32A1-4DD3-AAD3-37781C26AE3D}" srcOrd="2" destOrd="0" presId="urn:microsoft.com/office/officeart/2005/8/layout/orgChart1"/>
    <dgm:cxn modelId="{E81B9FF5-AE0A-45B0-9736-316C0E532C10}" type="presParOf" srcId="{A5A6FB06-E6E1-4A35-B197-EDD1C65347D1}" destId="{95305584-09E4-4168-A629-2454BAA89621}" srcOrd="2" destOrd="0" presId="urn:microsoft.com/office/officeart/2005/8/layout/orgChart1"/>
    <dgm:cxn modelId="{C48BB63E-E4E8-4485-8043-280368D5B7A4}" type="presParOf" srcId="{A5A6FB06-E6E1-4A35-B197-EDD1C65347D1}" destId="{1F683AF3-BBFA-4FE4-9DD7-DAA32DD5AC63}" srcOrd="3" destOrd="0" presId="urn:microsoft.com/office/officeart/2005/8/layout/orgChart1"/>
    <dgm:cxn modelId="{03644A73-91F7-4955-8041-92FCC07778E4}" type="presParOf" srcId="{1F683AF3-BBFA-4FE4-9DD7-DAA32DD5AC63}" destId="{AA25528B-CA5F-4DC3-8A51-648B0396D618}" srcOrd="0" destOrd="0" presId="urn:microsoft.com/office/officeart/2005/8/layout/orgChart1"/>
    <dgm:cxn modelId="{AF4B3610-F2D8-4740-A593-891A602448A3}" type="presParOf" srcId="{AA25528B-CA5F-4DC3-8A51-648B0396D618}" destId="{C01CED70-C573-4324-8B31-2C11A5049EA8}" srcOrd="0" destOrd="0" presId="urn:microsoft.com/office/officeart/2005/8/layout/orgChart1"/>
    <dgm:cxn modelId="{A8DDA483-7F32-48BE-A88E-0E2232C69DCC}" type="presParOf" srcId="{AA25528B-CA5F-4DC3-8A51-648B0396D618}" destId="{36312F3A-ABE6-4261-9000-6384749DBE2B}" srcOrd="1" destOrd="0" presId="urn:microsoft.com/office/officeart/2005/8/layout/orgChart1"/>
    <dgm:cxn modelId="{FEA8A229-18CF-4D64-A615-70B2983F6B8E}" type="presParOf" srcId="{1F683AF3-BBFA-4FE4-9DD7-DAA32DD5AC63}" destId="{56320036-D2C5-4025-B5E5-B0DA74D621E8}" srcOrd="1" destOrd="0" presId="urn:microsoft.com/office/officeart/2005/8/layout/orgChart1"/>
    <dgm:cxn modelId="{A143D87B-00A6-4976-A7A0-B88E5F0134E3}" type="presParOf" srcId="{1F683AF3-BBFA-4FE4-9DD7-DAA32DD5AC63}" destId="{6DBDCFD6-ED3A-47BB-893A-9DB3CEB3F6B0}" srcOrd="2" destOrd="0" presId="urn:microsoft.com/office/officeart/2005/8/layout/orgChart1"/>
    <dgm:cxn modelId="{DDBBAFC4-4FE5-4430-BFEC-63636ECD2D32}" type="presParOf" srcId="{A5A6FB06-E6E1-4A35-B197-EDD1C65347D1}" destId="{100FE8FC-08FB-454C-B66D-5E468A21570B}" srcOrd="4" destOrd="0" presId="urn:microsoft.com/office/officeart/2005/8/layout/orgChart1"/>
    <dgm:cxn modelId="{12B08D7A-DE5F-4165-B025-71D79F633D53}" type="presParOf" srcId="{A5A6FB06-E6E1-4A35-B197-EDD1C65347D1}" destId="{AD4A8A4A-33B4-49CF-AB9C-38CEAE1ABE1B}" srcOrd="5" destOrd="0" presId="urn:microsoft.com/office/officeart/2005/8/layout/orgChart1"/>
    <dgm:cxn modelId="{AFB4E83C-0553-40CA-88B3-5FCE5A13460E}" type="presParOf" srcId="{AD4A8A4A-33B4-49CF-AB9C-38CEAE1ABE1B}" destId="{616F123E-65BD-4C9B-B660-1F23B96B18A5}" srcOrd="0" destOrd="0" presId="urn:microsoft.com/office/officeart/2005/8/layout/orgChart1"/>
    <dgm:cxn modelId="{90DFF044-78B5-4EDB-96DC-48393EB2BCF5}" type="presParOf" srcId="{616F123E-65BD-4C9B-B660-1F23B96B18A5}" destId="{6F88843C-A2CB-46A2-81C0-7E7DF6892CA8}" srcOrd="0" destOrd="0" presId="urn:microsoft.com/office/officeart/2005/8/layout/orgChart1"/>
    <dgm:cxn modelId="{F018AB99-65F2-412E-8270-6A1A66EC606F}" type="presParOf" srcId="{616F123E-65BD-4C9B-B660-1F23B96B18A5}" destId="{698E2D6B-5EFF-4C39-A7F1-89E07620B287}" srcOrd="1" destOrd="0" presId="urn:microsoft.com/office/officeart/2005/8/layout/orgChart1"/>
    <dgm:cxn modelId="{1EDA8A90-777A-4B54-9FC0-53B96F9A5314}" type="presParOf" srcId="{AD4A8A4A-33B4-49CF-AB9C-38CEAE1ABE1B}" destId="{EB8A5930-A3C7-4E5C-81AB-A7E5DF5D0066}" srcOrd="1" destOrd="0" presId="urn:microsoft.com/office/officeart/2005/8/layout/orgChart1"/>
    <dgm:cxn modelId="{567A0155-5FC6-4AD6-B735-2F35F232964C}" type="presParOf" srcId="{AD4A8A4A-33B4-49CF-AB9C-38CEAE1ABE1B}" destId="{AD079B37-DA1A-411B-9FAE-D2C30342D672}" srcOrd="2" destOrd="0" presId="urn:microsoft.com/office/officeart/2005/8/layout/orgChart1"/>
    <dgm:cxn modelId="{99B5E057-55D4-4DAA-A5B7-952AE554370B}" type="presParOf" srcId="{69F19F50-D201-42E6-A9E8-C9592BD1C4B6}" destId="{28C10976-316C-45EB-9303-E50B0167410C}" srcOrd="2" destOrd="0" presId="urn:microsoft.com/office/officeart/2005/8/layout/orgChart1"/>
    <dgm:cxn modelId="{4E813264-9EB7-456C-822B-613AFAEA2CE2}" type="presParOf" srcId="{81983324-DBED-4313-82CD-7F665ED5BF2A}" destId="{B55ED671-F552-4982-841F-608905806176}" srcOrd="8" destOrd="0" presId="urn:microsoft.com/office/officeart/2005/8/layout/orgChart1"/>
    <dgm:cxn modelId="{F7C7EF3E-2502-47F5-80EB-05372CCD25E7}" type="presParOf" srcId="{81983324-DBED-4313-82CD-7F665ED5BF2A}" destId="{499F1409-B2BA-481A-82BB-D436312B32D1}" srcOrd="9" destOrd="0" presId="urn:microsoft.com/office/officeart/2005/8/layout/orgChart1"/>
    <dgm:cxn modelId="{38DC1FBE-2A84-45A3-AFD3-32B58593C6B3}" type="presParOf" srcId="{499F1409-B2BA-481A-82BB-D436312B32D1}" destId="{11FF25C9-2445-44DA-A09E-97587EEF5CE4}" srcOrd="0" destOrd="0" presId="urn:microsoft.com/office/officeart/2005/8/layout/orgChart1"/>
    <dgm:cxn modelId="{004CA4FD-5949-4B90-91B6-45C3CF36DA5D}" type="presParOf" srcId="{11FF25C9-2445-44DA-A09E-97587EEF5CE4}" destId="{A9F2C550-EA53-43FD-A0FB-484C52E3FD9B}" srcOrd="0" destOrd="0" presId="urn:microsoft.com/office/officeart/2005/8/layout/orgChart1"/>
    <dgm:cxn modelId="{B78BF7E5-C460-4D95-8C70-418D2C420827}" type="presParOf" srcId="{11FF25C9-2445-44DA-A09E-97587EEF5CE4}" destId="{541AD2AE-6491-4CAF-B9DE-E806460CBF93}" srcOrd="1" destOrd="0" presId="urn:microsoft.com/office/officeart/2005/8/layout/orgChart1"/>
    <dgm:cxn modelId="{226925E4-B1C0-4D19-A1FC-19086243AB3E}" type="presParOf" srcId="{499F1409-B2BA-481A-82BB-D436312B32D1}" destId="{26DCD83C-7EB7-4520-93D8-803D43C8365E}" srcOrd="1" destOrd="0" presId="urn:microsoft.com/office/officeart/2005/8/layout/orgChart1"/>
    <dgm:cxn modelId="{84B3B0AA-AE50-4815-BC4A-EEE8FFFA1111}" type="presParOf" srcId="{26DCD83C-7EB7-4520-93D8-803D43C8365E}" destId="{C74152E2-9E04-49E2-9860-789B4703D6F4}" srcOrd="0" destOrd="0" presId="urn:microsoft.com/office/officeart/2005/8/layout/orgChart1"/>
    <dgm:cxn modelId="{DB585B7E-9520-490F-8D11-9FC76D836D8D}" type="presParOf" srcId="{26DCD83C-7EB7-4520-93D8-803D43C8365E}" destId="{BE5787EF-9D1F-443D-8186-F0C843A138D5}" srcOrd="1" destOrd="0" presId="urn:microsoft.com/office/officeart/2005/8/layout/orgChart1"/>
    <dgm:cxn modelId="{A49F1F04-691A-4D7B-AC5C-E480FB7BCD57}" type="presParOf" srcId="{BE5787EF-9D1F-443D-8186-F0C843A138D5}" destId="{6BC35456-AC78-4E67-8187-ED832A00686D}" srcOrd="0" destOrd="0" presId="urn:microsoft.com/office/officeart/2005/8/layout/orgChart1"/>
    <dgm:cxn modelId="{5495426B-CB6F-49B2-AFCE-A46AA4FCE7A0}" type="presParOf" srcId="{6BC35456-AC78-4E67-8187-ED832A00686D}" destId="{0A098862-927D-4AF9-826C-AE4554DFAD1A}" srcOrd="0" destOrd="0" presId="urn:microsoft.com/office/officeart/2005/8/layout/orgChart1"/>
    <dgm:cxn modelId="{9C5F1AD4-1F56-474C-AB74-BE45D12B94B2}" type="presParOf" srcId="{6BC35456-AC78-4E67-8187-ED832A00686D}" destId="{F1748C9E-9E1B-4B18-8A32-CCB16E9E8DC8}" srcOrd="1" destOrd="0" presId="urn:microsoft.com/office/officeart/2005/8/layout/orgChart1"/>
    <dgm:cxn modelId="{8D2878B0-2A7E-4832-B344-15D9F971310C}" type="presParOf" srcId="{BE5787EF-9D1F-443D-8186-F0C843A138D5}" destId="{1A345A5F-73E5-4F74-9CA9-18BBA7892AB1}" srcOrd="1" destOrd="0" presId="urn:microsoft.com/office/officeart/2005/8/layout/orgChart1"/>
    <dgm:cxn modelId="{DAA8F67F-555F-4231-BD46-25A35D4F07B5}" type="presParOf" srcId="{BE5787EF-9D1F-443D-8186-F0C843A138D5}" destId="{35088AE2-1BC1-4605-849B-4D3FC758FB82}" srcOrd="2" destOrd="0" presId="urn:microsoft.com/office/officeart/2005/8/layout/orgChart1"/>
    <dgm:cxn modelId="{C5825755-2A99-4945-8B5C-1CDA3B7BDA41}" type="presParOf" srcId="{499F1409-B2BA-481A-82BB-D436312B32D1}" destId="{8D0B6384-4504-4E95-8585-75FFC0F451BB}" srcOrd="2" destOrd="0" presId="urn:microsoft.com/office/officeart/2005/8/layout/orgChart1"/>
    <dgm:cxn modelId="{0B9D27F6-EB6E-4B13-8C29-05A3A880C24C}" type="presParOf" srcId="{81983324-DBED-4313-82CD-7F665ED5BF2A}" destId="{48BBD174-19EC-4BB2-A3B4-15F86D9C4B9A}" srcOrd="10" destOrd="0" presId="urn:microsoft.com/office/officeart/2005/8/layout/orgChart1"/>
    <dgm:cxn modelId="{3F22A6ED-E6C0-412C-94EB-ABA889AFA2E3}" type="presParOf" srcId="{81983324-DBED-4313-82CD-7F665ED5BF2A}" destId="{9B41A210-8AE1-461D-9DB3-038F15B5D1A5}" srcOrd="11" destOrd="0" presId="urn:microsoft.com/office/officeart/2005/8/layout/orgChart1"/>
    <dgm:cxn modelId="{9F69A732-DC7A-4F3B-9DCD-C8DE783A36D0}" type="presParOf" srcId="{9B41A210-8AE1-461D-9DB3-038F15B5D1A5}" destId="{A9917745-A074-408B-9717-DC4434CF1AA9}" srcOrd="0" destOrd="0" presId="urn:microsoft.com/office/officeart/2005/8/layout/orgChart1"/>
    <dgm:cxn modelId="{1F9B8307-10A1-4F24-8C80-5E1F581DF392}" type="presParOf" srcId="{A9917745-A074-408B-9717-DC4434CF1AA9}" destId="{17B982D1-66E7-44C5-8F51-E0763FC4B52A}" srcOrd="0" destOrd="0" presId="urn:microsoft.com/office/officeart/2005/8/layout/orgChart1"/>
    <dgm:cxn modelId="{E73DC9DD-B695-4873-A78A-C00880DBE7A8}" type="presParOf" srcId="{A9917745-A074-408B-9717-DC4434CF1AA9}" destId="{1EC4F76C-316A-4248-8D07-86C1E5E0460E}" srcOrd="1" destOrd="0" presId="urn:microsoft.com/office/officeart/2005/8/layout/orgChart1"/>
    <dgm:cxn modelId="{60FC82A6-9EDE-4F5B-9503-7C0FFDD536D3}" type="presParOf" srcId="{9B41A210-8AE1-461D-9DB3-038F15B5D1A5}" destId="{FBEA96E4-AD80-46ED-98DF-C22BE5BC616D}" srcOrd="1" destOrd="0" presId="urn:microsoft.com/office/officeart/2005/8/layout/orgChart1"/>
    <dgm:cxn modelId="{FA0B0287-600E-4AFB-9A29-84EB24D18B2C}" type="presParOf" srcId="{9B41A210-8AE1-461D-9DB3-038F15B5D1A5}" destId="{8378E905-5BC6-4410-AC58-E5F9F887CC68}" srcOrd="2" destOrd="0" presId="urn:microsoft.com/office/officeart/2005/8/layout/orgChart1"/>
    <dgm:cxn modelId="{78946A79-0945-4457-9CB5-A933B5AE49D3}" type="presParOf" srcId="{81983324-DBED-4313-82CD-7F665ED5BF2A}" destId="{A537EADF-0540-442F-9CE4-36978F42779D}" srcOrd="12" destOrd="0" presId="urn:microsoft.com/office/officeart/2005/8/layout/orgChart1"/>
    <dgm:cxn modelId="{18B08D21-96BF-46C9-8268-0E6250651AB7}" type="presParOf" srcId="{81983324-DBED-4313-82CD-7F665ED5BF2A}" destId="{B1ADB6C7-A84F-42ED-B2A5-A54BF6BD5CAD}" srcOrd="13" destOrd="0" presId="urn:microsoft.com/office/officeart/2005/8/layout/orgChart1"/>
    <dgm:cxn modelId="{8B372F8A-94B5-48E6-A3B5-6F3887585589}" type="presParOf" srcId="{B1ADB6C7-A84F-42ED-B2A5-A54BF6BD5CAD}" destId="{B7E86396-08A6-4481-82D7-A6F003741B60}" srcOrd="0" destOrd="0" presId="urn:microsoft.com/office/officeart/2005/8/layout/orgChart1"/>
    <dgm:cxn modelId="{B93DE989-3523-48DC-A7F8-6DD02579A9EE}" type="presParOf" srcId="{B7E86396-08A6-4481-82D7-A6F003741B60}" destId="{371E766F-1B6C-4F03-9EE9-EA294AEB18BD}" srcOrd="0" destOrd="0" presId="urn:microsoft.com/office/officeart/2005/8/layout/orgChart1"/>
    <dgm:cxn modelId="{14951631-F40D-480F-8CDF-82B010E3A7D2}" type="presParOf" srcId="{B7E86396-08A6-4481-82D7-A6F003741B60}" destId="{41DE6D48-358B-458E-A43B-AECB5A46830E}" srcOrd="1" destOrd="0" presId="urn:microsoft.com/office/officeart/2005/8/layout/orgChart1"/>
    <dgm:cxn modelId="{E7900DEA-33B5-4352-AF9F-4A4C9F4384F6}" type="presParOf" srcId="{B1ADB6C7-A84F-42ED-B2A5-A54BF6BD5CAD}" destId="{B4002D27-F8AA-48DD-887C-CC7754B98F86}" srcOrd="1" destOrd="0" presId="urn:microsoft.com/office/officeart/2005/8/layout/orgChart1"/>
    <dgm:cxn modelId="{F115518C-2C19-46AB-A9BA-64907B94A022}" type="presParOf" srcId="{B1ADB6C7-A84F-42ED-B2A5-A54BF6BD5CAD}" destId="{0A9F2E49-75A7-40BE-9EF0-EBA86D247CD7}" srcOrd="2" destOrd="0" presId="urn:microsoft.com/office/officeart/2005/8/layout/orgChart1"/>
    <dgm:cxn modelId="{BB32B022-95B8-4F98-A981-D0DE0FF55302}" type="presParOf" srcId="{81983324-DBED-4313-82CD-7F665ED5BF2A}" destId="{8CB5BB46-A09D-4D62-9A77-93CEAA45ACFC}" srcOrd="14" destOrd="0" presId="urn:microsoft.com/office/officeart/2005/8/layout/orgChart1"/>
    <dgm:cxn modelId="{9189D07C-74B0-4DAB-A372-67F264836746}" type="presParOf" srcId="{81983324-DBED-4313-82CD-7F665ED5BF2A}" destId="{B596825E-237C-460C-BC75-C72E0C9CB48C}" srcOrd="15" destOrd="0" presId="urn:microsoft.com/office/officeart/2005/8/layout/orgChart1"/>
    <dgm:cxn modelId="{F06E3CAD-4690-428C-88B5-121F209F201E}" type="presParOf" srcId="{B596825E-237C-460C-BC75-C72E0C9CB48C}" destId="{845BAC1C-4A6C-46F2-BD7D-597E534D3594}" srcOrd="0" destOrd="0" presId="urn:microsoft.com/office/officeart/2005/8/layout/orgChart1"/>
    <dgm:cxn modelId="{4140ECB2-EDBB-47D6-B8F3-86D338B162DB}" type="presParOf" srcId="{845BAC1C-4A6C-46F2-BD7D-597E534D3594}" destId="{65BCD025-670A-4935-99E0-81F307EAB97B}" srcOrd="0" destOrd="0" presId="urn:microsoft.com/office/officeart/2005/8/layout/orgChart1"/>
    <dgm:cxn modelId="{740C8BE0-A649-47EA-8D6F-C1C05E9443EB}" type="presParOf" srcId="{845BAC1C-4A6C-46F2-BD7D-597E534D3594}" destId="{2B1447CB-B022-4520-88E7-03B54F43AEBF}" srcOrd="1" destOrd="0" presId="urn:microsoft.com/office/officeart/2005/8/layout/orgChart1"/>
    <dgm:cxn modelId="{C6886327-10C7-42DA-BEAD-B73B440329FD}" type="presParOf" srcId="{B596825E-237C-460C-BC75-C72E0C9CB48C}" destId="{0CA391F3-6392-4674-9A8B-2AB863F57D28}" srcOrd="1" destOrd="0" presId="urn:microsoft.com/office/officeart/2005/8/layout/orgChart1"/>
    <dgm:cxn modelId="{D0914462-C90F-44AF-9C3E-780E8D7231DE}" type="presParOf" srcId="{B596825E-237C-460C-BC75-C72E0C9CB48C}" destId="{A7439E24-C969-43E1-B906-DD3AE51F0D2E}" srcOrd="2" destOrd="0" presId="urn:microsoft.com/office/officeart/2005/8/layout/orgChart1"/>
    <dgm:cxn modelId="{0313443A-9983-4972-9B27-E6B9AB30311C}" type="presParOf" srcId="{A2C7FD58-0E1E-4D82-BB48-F6C30D016E70}" destId="{504A4935-0DC1-4A6C-B453-29AD006D5952}"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57CD458-CFCD-4601-8B3A-E5F0A2C7A149}" type="doc">
      <dgm:prSet loTypeId="urn:microsoft.com/office/officeart/2005/8/layout/orgChart1" loCatId="hierarchy" qsTypeId="urn:microsoft.com/office/officeart/2005/8/quickstyle/simple1" qsCatId="simple" csTypeId="urn:microsoft.com/office/officeart/2005/8/colors/accent5_3" csCatId="accent5"/>
      <dgm:spPr/>
      <dgm:t>
        <a:bodyPr/>
        <a:lstStyle/>
        <a:p>
          <a:endParaRPr lang="en-US"/>
        </a:p>
      </dgm:t>
    </dgm:pt>
    <dgm:pt modelId="{EC081332-DDA8-4FA2-8B80-D12B88C78515}">
      <dgm:prSet/>
      <dgm:spPr/>
      <dgm:t>
        <a:bodyPr/>
        <a:lstStyle/>
        <a:p>
          <a:r>
            <a:rPr lang="en-US" dirty="0"/>
            <a:t>Relationship between objects</a:t>
          </a:r>
        </a:p>
      </dgm:t>
    </dgm:pt>
    <dgm:pt modelId="{14CC6415-F3D0-4BBD-9D6F-E5F143CB54D8}" type="parTrans" cxnId="{7572CD19-1548-4B4C-B340-F2E619737F97}">
      <dgm:prSet/>
      <dgm:spPr/>
      <dgm:t>
        <a:bodyPr/>
        <a:lstStyle/>
        <a:p>
          <a:endParaRPr lang="en-US"/>
        </a:p>
      </dgm:t>
    </dgm:pt>
    <dgm:pt modelId="{75C85749-891B-429B-B45C-461BD81186A5}" type="sibTrans" cxnId="{7572CD19-1548-4B4C-B340-F2E619737F97}">
      <dgm:prSet/>
      <dgm:spPr/>
      <dgm:t>
        <a:bodyPr/>
        <a:lstStyle/>
        <a:p>
          <a:endParaRPr lang="en-US"/>
        </a:p>
      </dgm:t>
    </dgm:pt>
    <dgm:pt modelId="{77F5F035-4DD6-43FC-B607-C5AF375A68A0}">
      <dgm:prSet/>
      <dgm:spPr/>
      <dgm:t>
        <a:bodyPr/>
        <a:lstStyle/>
        <a:p>
          <a:r>
            <a:rPr lang="en-US"/>
            <a:t>Objects as attributes</a:t>
          </a:r>
        </a:p>
      </dgm:t>
    </dgm:pt>
    <dgm:pt modelId="{FE6206E9-2A0C-4CE6-A712-5E4F27EA7C5B}" type="parTrans" cxnId="{1728ABCD-8B0A-42CB-87B3-DCB96BEB700E}">
      <dgm:prSet/>
      <dgm:spPr/>
      <dgm:t>
        <a:bodyPr/>
        <a:lstStyle/>
        <a:p>
          <a:endParaRPr lang="en-US"/>
        </a:p>
      </dgm:t>
    </dgm:pt>
    <dgm:pt modelId="{73E467B3-AD28-4A63-A614-983E82E1F9CE}" type="sibTrans" cxnId="{1728ABCD-8B0A-42CB-87B3-DCB96BEB700E}">
      <dgm:prSet/>
      <dgm:spPr/>
      <dgm:t>
        <a:bodyPr/>
        <a:lstStyle/>
        <a:p>
          <a:endParaRPr lang="en-US"/>
        </a:p>
      </dgm:t>
    </dgm:pt>
    <dgm:pt modelId="{1E07D286-8FCE-4191-83C4-F0558F2B14E3}">
      <dgm:prSet/>
      <dgm:spPr/>
      <dgm:t>
        <a:bodyPr/>
        <a:lstStyle/>
        <a:p>
          <a:r>
            <a:rPr lang="en-US"/>
            <a:t>Composite classes</a:t>
          </a:r>
        </a:p>
      </dgm:t>
    </dgm:pt>
    <dgm:pt modelId="{7D92A2D9-137F-4A06-9C5E-89E902B2652C}" type="parTrans" cxnId="{9ACC591D-A20B-4642-8638-8ACF3D9800E7}">
      <dgm:prSet/>
      <dgm:spPr/>
      <dgm:t>
        <a:bodyPr/>
        <a:lstStyle/>
        <a:p>
          <a:endParaRPr lang="en-US"/>
        </a:p>
      </dgm:t>
    </dgm:pt>
    <dgm:pt modelId="{E3A78DDE-182E-41CA-8637-8C1A5D2E5605}" type="sibTrans" cxnId="{9ACC591D-A20B-4642-8638-8ACF3D9800E7}">
      <dgm:prSet/>
      <dgm:spPr/>
      <dgm:t>
        <a:bodyPr/>
        <a:lstStyle/>
        <a:p>
          <a:endParaRPr lang="en-US"/>
        </a:p>
      </dgm:t>
    </dgm:pt>
    <dgm:pt modelId="{99A26A30-ADE5-4DD3-AC93-29D67A1BA2B2}">
      <dgm:prSet/>
      <dgm:spPr/>
      <dgm:t>
        <a:bodyPr/>
        <a:lstStyle/>
        <a:p>
          <a:r>
            <a:rPr lang="en-US"/>
            <a:t>Association and links</a:t>
          </a:r>
        </a:p>
      </dgm:t>
    </dgm:pt>
    <dgm:pt modelId="{43011E53-EE71-4023-8280-F5002E8A21D8}" type="parTrans" cxnId="{81DD140A-81AF-48A3-9D9A-B7A308846263}">
      <dgm:prSet/>
      <dgm:spPr/>
      <dgm:t>
        <a:bodyPr/>
        <a:lstStyle/>
        <a:p>
          <a:endParaRPr lang="en-US"/>
        </a:p>
      </dgm:t>
    </dgm:pt>
    <dgm:pt modelId="{25D7CA9D-6F8F-42A6-902D-4BD5F9FFCF81}" type="sibTrans" cxnId="{81DD140A-81AF-48A3-9D9A-B7A308846263}">
      <dgm:prSet/>
      <dgm:spPr/>
      <dgm:t>
        <a:bodyPr/>
        <a:lstStyle/>
        <a:p>
          <a:endParaRPr lang="en-US"/>
        </a:p>
      </dgm:t>
    </dgm:pt>
    <dgm:pt modelId="{FF3C0984-95F3-4785-BA63-CC0AB27921DE}">
      <dgm:prSet/>
      <dgm:spPr/>
      <dgm:t>
        <a:bodyPr/>
        <a:lstStyle/>
        <a:p>
          <a:r>
            <a:rPr lang="en-US"/>
            <a:t>Binary association</a:t>
          </a:r>
        </a:p>
      </dgm:t>
    </dgm:pt>
    <dgm:pt modelId="{A98D74BF-EF1F-473D-86B9-5E7D0D682520}" type="parTrans" cxnId="{A74B5DDF-3C75-4ED7-8557-9E5521EC1A43}">
      <dgm:prSet/>
      <dgm:spPr/>
      <dgm:t>
        <a:bodyPr/>
        <a:lstStyle/>
        <a:p>
          <a:endParaRPr lang="en-US"/>
        </a:p>
      </dgm:t>
    </dgm:pt>
    <dgm:pt modelId="{47736F65-0CDE-4C0B-8DF4-31D153E0F7F1}" type="sibTrans" cxnId="{A74B5DDF-3C75-4ED7-8557-9E5521EC1A43}">
      <dgm:prSet/>
      <dgm:spPr/>
      <dgm:t>
        <a:bodyPr/>
        <a:lstStyle/>
        <a:p>
          <a:endParaRPr lang="en-US"/>
        </a:p>
      </dgm:t>
    </dgm:pt>
    <dgm:pt modelId="{8F932060-8843-4BC2-9D07-B6217D1B0C1E}">
      <dgm:prSet/>
      <dgm:spPr/>
      <dgm:t>
        <a:bodyPr/>
        <a:lstStyle/>
        <a:p>
          <a:r>
            <a:rPr lang="en-US" dirty="0"/>
            <a:t>Unary association</a:t>
          </a:r>
        </a:p>
      </dgm:t>
    </dgm:pt>
    <dgm:pt modelId="{D0992F66-3F0E-487E-874A-122223BFAD86}" type="parTrans" cxnId="{BDF28478-C15A-4CD0-BDDF-D416241E4E19}">
      <dgm:prSet/>
      <dgm:spPr/>
      <dgm:t>
        <a:bodyPr/>
        <a:lstStyle/>
        <a:p>
          <a:endParaRPr lang="en-US"/>
        </a:p>
      </dgm:t>
    </dgm:pt>
    <dgm:pt modelId="{DBFD4C86-296C-413F-9897-A9664923131E}" type="sibTrans" cxnId="{BDF28478-C15A-4CD0-BDDF-D416241E4E19}">
      <dgm:prSet/>
      <dgm:spPr/>
      <dgm:t>
        <a:bodyPr/>
        <a:lstStyle/>
        <a:p>
          <a:endParaRPr lang="en-US"/>
        </a:p>
      </dgm:t>
    </dgm:pt>
    <dgm:pt modelId="{82DEC64D-492A-4B8D-ABF3-B44AEB9C8603}">
      <dgm:prSet/>
      <dgm:spPr/>
      <dgm:t>
        <a:bodyPr/>
        <a:lstStyle/>
        <a:p>
          <a:r>
            <a:rPr lang="en-US" dirty="0"/>
            <a:t>Ternary association</a:t>
          </a:r>
        </a:p>
      </dgm:t>
    </dgm:pt>
    <dgm:pt modelId="{6785794C-BE0D-4660-9985-1006C51C36AD}" type="parTrans" cxnId="{BB00534D-7B77-44A5-9CA3-532B8E6C8EC2}">
      <dgm:prSet/>
      <dgm:spPr/>
      <dgm:t>
        <a:bodyPr/>
        <a:lstStyle/>
        <a:p>
          <a:endParaRPr lang="en-US"/>
        </a:p>
      </dgm:t>
    </dgm:pt>
    <dgm:pt modelId="{8B1D2250-F170-4845-B4A3-F62534C37DBA}" type="sibTrans" cxnId="{BB00534D-7B77-44A5-9CA3-532B8E6C8EC2}">
      <dgm:prSet/>
      <dgm:spPr/>
      <dgm:t>
        <a:bodyPr/>
        <a:lstStyle/>
        <a:p>
          <a:endParaRPr lang="en-US"/>
        </a:p>
      </dgm:t>
    </dgm:pt>
    <dgm:pt modelId="{2FFBDF77-1D49-41F0-A574-56F0F2DC5F0C}">
      <dgm:prSet/>
      <dgm:spPr/>
      <dgm:t>
        <a:bodyPr/>
        <a:lstStyle/>
        <a:p>
          <a:r>
            <a:rPr lang="en-US"/>
            <a:t>Cardinality or multiplicity</a:t>
          </a:r>
        </a:p>
      </dgm:t>
    </dgm:pt>
    <dgm:pt modelId="{9A2A66B7-69A2-4260-8A52-FDFC2344BF1A}" type="parTrans" cxnId="{5AEC868A-E9EE-4618-81C2-CA0F686D2C5E}">
      <dgm:prSet/>
      <dgm:spPr/>
      <dgm:t>
        <a:bodyPr/>
        <a:lstStyle/>
        <a:p>
          <a:endParaRPr lang="en-US"/>
        </a:p>
      </dgm:t>
    </dgm:pt>
    <dgm:pt modelId="{C4AFFDA9-62B9-4D03-ACE7-E67B68C11854}" type="sibTrans" cxnId="{5AEC868A-E9EE-4618-81C2-CA0F686D2C5E}">
      <dgm:prSet/>
      <dgm:spPr/>
      <dgm:t>
        <a:bodyPr/>
        <a:lstStyle/>
        <a:p>
          <a:endParaRPr lang="en-US"/>
        </a:p>
      </dgm:t>
    </dgm:pt>
    <dgm:pt modelId="{0EBE539F-A727-49E4-8C76-A4A2D4B5E339}">
      <dgm:prSet/>
      <dgm:spPr/>
      <dgm:t>
        <a:bodyPr/>
        <a:lstStyle/>
        <a:p>
          <a:r>
            <a:rPr lang="en-US"/>
            <a:t>One to one</a:t>
          </a:r>
        </a:p>
      </dgm:t>
    </dgm:pt>
    <dgm:pt modelId="{E38A79AD-7A70-4373-ABD2-0FCE105E4ED8}" type="parTrans" cxnId="{66266480-FABF-4FAF-88B0-9615F6603486}">
      <dgm:prSet/>
      <dgm:spPr/>
      <dgm:t>
        <a:bodyPr/>
        <a:lstStyle/>
        <a:p>
          <a:endParaRPr lang="en-US"/>
        </a:p>
      </dgm:t>
    </dgm:pt>
    <dgm:pt modelId="{24285258-EB12-44F6-A245-C9E011B56024}" type="sibTrans" cxnId="{66266480-FABF-4FAF-88B0-9615F6603486}">
      <dgm:prSet/>
      <dgm:spPr/>
      <dgm:t>
        <a:bodyPr/>
        <a:lstStyle/>
        <a:p>
          <a:endParaRPr lang="en-US"/>
        </a:p>
      </dgm:t>
    </dgm:pt>
    <dgm:pt modelId="{3661A45E-1B50-4052-ACA7-E98FD2BDBB37}">
      <dgm:prSet/>
      <dgm:spPr/>
      <dgm:t>
        <a:bodyPr/>
        <a:lstStyle/>
        <a:p>
          <a:r>
            <a:rPr lang="en-US"/>
            <a:t>One to many</a:t>
          </a:r>
        </a:p>
      </dgm:t>
    </dgm:pt>
    <dgm:pt modelId="{79A660EF-C00D-4F54-A845-B6B9508AD09F}" type="parTrans" cxnId="{5C927A8E-642C-4EFB-844F-7946AFB42487}">
      <dgm:prSet/>
      <dgm:spPr/>
      <dgm:t>
        <a:bodyPr/>
        <a:lstStyle/>
        <a:p>
          <a:endParaRPr lang="en-US"/>
        </a:p>
      </dgm:t>
    </dgm:pt>
    <dgm:pt modelId="{7DEDFB48-9553-4D25-9A41-B79D67FAF41E}" type="sibTrans" cxnId="{5C927A8E-642C-4EFB-844F-7946AFB42487}">
      <dgm:prSet/>
      <dgm:spPr/>
      <dgm:t>
        <a:bodyPr/>
        <a:lstStyle/>
        <a:p>
          <a:endParaRPr lang="en-US"/>
        </a:p>
      </dgm:t>
    </dgm:pt>
    <dgm:pt modelId="{C790A59F-0C9D-4A93-819F-6FC718168269}">
      <dgm:prSet/>
      <dgm:spPr/>
      <dgm:t>
        <a:bodyPr/>
        <a:lstStyle/>
        <a:p>
          <a:r>
            <a:rPr lang="en-US"/>
            <a:t>Many to many</a:t>
          </a:r>
        </a:p>
      </dgm:t>
    </dgm:pt>
    <dgm:pt modelId="{FBA2AC0B-1129-4B28-B933-DDD18D49C2E7}" type="parTrans" cxnId="{0D16AE8A-4DD3-4776-BE73-5ECC6DF93F55}">
      <dgm:prSet/>
      <dgm:spPr/>
      <dgm:t>
        <a:bodyPr/>
        <a:lstStyle/>
        <a:p>
          <a:endParaRPr lang="en-US"/>
        </a:p>
      </dgm:t>
    </dgm:pt>
    <dgm:pt modelId="{1547DCD3-A54E-4520-A83D-8E39EC117BE1}" type="sibTrans" cxnId="{0D16AE8A-4DD3-4776-BE73-5ECC6DF93F55}">
      <dgm:prSet/>
      <dgm:spPr/>
      <dgm:t>
        <a:bodyPr/>
        <a:lstStyle/>
        <a:p>
          <a:endParaRPr lang="en-US"/>
        </a:p>
      </dgm:t>
    </dgm:pt>
    <dgm:pt modelId="{AD47AC86-6EBF-456E-8215-62227C7CA8F4}">
      <dgm:prSet/>
      <dgm:spPr/>
      <dgm:t>
        <a:bodyPr/>
        <a:lstStyle/>
        <a:p>
          <a:r>
            <a:rPr lang="en-US"/>
            <a:t>Aggregation</a:t>
          </a:r>
        </a:p>
      </dgm:t>
    </dgm:pt>
    <dgm:pt modelId="{CB44C536-30D3-4BA9-842D-EEB89ABBEB0D}" type="parTrans" cxnId="{3F9D1FB7-83A8-486F-8A41-927DA9956578}">
      <dgm:prSet/>
      <dgm:spPr/>
      <dgm:t>
        <a:bodyPr/>
        <a:lstStyle/>
        <a:p>
          <a:endParaRPr lang="en-US"/>
        </a:p>
      </dgm:t>
    </dgm:pt>
    <dgm:pt modelId="{244A4FA9-E298-44A2-B653-2B4F7AA989A7}" type="sibTrans" cxnId="{3F9D1FB7-83A8-486F-8A41-927DA9956578}">
      <dgm:prSet/>
      <dgm:spPr/>
      <dgm:t>
        <a:bodyPr/>
        <a:lstStyle/>
        <a:p>
          <a:endParaRPr lang="en-US"/>
        </a:p>
      </dgm:t>
    </dgm:pt>
    <dgm:pt modelId="{43DDCACF-3456-463A-BDEE-AED33F2F136D}">
      <dgm:prSet/>
      <dgm:spPr/>
      <dgm:t>
        <a:bodyPr/>
        <a:lstStyle/>
        <a:p>
          <a:r>
            <a:rPr lang="en-US"/>
            <a:t>Composite aggregation</a:t>
          </a:r>
        </a:p>
      </dgm:t>
    </dgm:pt>
    <dgm:pt modelId="{A9660091-8C91-48E8-85A7-26692B13CF1F}" type="parTrans" cxnId="{EB6F9FD8-4FE7-4252-B059-9686FE5576F1}">
      <dgm:prSet/>
      <dgm:spPr/>
      <dgm:t>
        <a:bodyPr/>
        <a:lstStyle/>
        <a:p>
          <a:endParaRPr lang="en-US"/>
        </a:p>
      </dgm:t>
    </dgm:pt>
    <dgm:pt modelId="{1D70EC5F-6537-49BA-B04E-8628197C52E9}" type="sibTrans" cxnId="{EB6F9FD8-4FE7-4252-B059-9686FE5576F1}">
      <dgm:prSet/>
      <dgm:spPr/>
      <dgm:t>
        <a:bodyPr/>
        <a:lstStyle/>
        <a:p>
          <a:endParaRPr lang="en-US"/>
        </a:p>
      </dgm:t>
    </dgm:pt>
    <dgm:pt modelId="{2622101F-52F6-4DEA-8613-3B8ACB9E66B9}">
      <dgm:prSet/>
      <dgm:spPr/>
      <dgm:t>
        <a:bodyPr/>
        <a:lstStyle/>
        <a:p>
          <a:r>
            <a:rPr lang="en-US"/>
            <a:t>Inheritance</a:t>
          </a:r>
        </a:p>
      </dgm:t>
    </dgm:pt>
    <dgm:pt modelId="{46760D09-01D3-49D3-9115-21A004B4F05E}" type="parTrans" cxnId="{815275EE-C10A-499F-B203-0260231A6866}">
      <dgm:prSet/>
      <dgm:spPr/>
      <dgm:t>
        <a:bodyPr/>
        <a:lstStyle/>
        <a:p>
          <a:endParaRPr lang="en-US"/>
        </a:p>
      </dgm:t>
    </dgm:pt>
    <dgm:pt modelId="{B7E2B9C6-5488-42D2-AB1C-CFA39CE4988A}" type="sibTrans" cxnId="{815275EE-C10A-499F-B203-0260231A6866}">
      <dgm:prSet/>
      <dgm:spPr/>
      <dgm:t>
        <a:bodyPr/>
        <a:lstStyle/>
        <a:p>
          <a:endParaRPr lang="en-US"/>
        </a:p>
      </dgm:t>
    </dgm:pt>
    <dgm:pt modelId="{4E660FF5-AECB-4E21-8C28-9B1390B3626F}">
      <dgm:prSet/>
      <dgm:spPr/>
      <dgm:t>
        <a:bodyPr/>
        <a:lstStyle/>
        <a:p>
          <a:r>
            <a:rPr lang="en-US"/>
            <a:t>Multiple inheritance</a:t>
          </a:r>
        </a:p>
      </dgm:t>
    </dgm:pt>
    <dgm:pt modelId="{EBD64C4C-A20D-4828-882C-8AB863E68B47}" type="parTrans" cxnId="{3B40CD5C-EE9F-41C3-9556-FE972186BDEE}">
      <dgm:prSet/>
      <dgm:spPr/>
      <dgm:t>
        <a:bodyPr/>
        <a:lstStyle/>
        <a:p>
          <a:endParaRPr lang="en-US"/>
        </a:p>
      </dgm:t>
    </dgm:pt>
    <dgm:pt modelId="{A09C7163-88C3-419C-A53F-3E01007B2612}" type="sibTrans" cxnId="{3B40CD5C-EE9F-41C3-9556-FE972186BDEE}">
      <dgm:prSet/>
      <dgm:spPr/>
      <dgm:t>
        <a:bodyPr/>
        <a:lstStyle/>
        <a:p>
          <a:endParaRPr lang="en-US"/>
        </a:p>
      </dgm:t>
    </dgm:pt>
    <dgm:pt modelId="{3627E3BC-8364-40AF-81E2-D34B9C9C642E}" type="pres">
      <dgm:prSet presAssocID="{F57CD458-CFCD-4601-8B3A-E5F0A2C7A149}" presName="hierChild1" presStyleCnt="0">
        <dgm:presLayoutVars>
          <dgm:orgChart val="1"/>
          <dgm:chPref val="1"/>
          <dgm:dir/>
          <dgm:animOne val="branch"/>
          <dgm:animLvl val="lvl"/>
          <dgm:resizeHandles/>
        </dgm:presLayoutVars>
      </dgm:prSet>
      <dgm:spPr/>
    </dgm:pt>
    <dgm:pt modelId="{11608915-27DF-4DBA-A424-5CC0EF4B450E}" type="pres">
      <dgm:prSet presAssocID="{EC081332-DDA8-4FA2-8B80-D12B88C78515}" presName="hierRoot1" presStyleCnt="0">
        <dgm:presLayoutVars>
          <dgm:hierBranch val="init"/>
        </dgm:presLayoutVars>
      </dgm:prSet>
      <dgm:spPr/>
    </dgm:pt>
    <dgm:pt modelId="{DD557F8B-CBD8-480C-B25E-0C9578CAAAA7}" type="pres">
      <dgm:prSet presAssocID="{EC081332-DDA8-4FA2-8B80-D12B88C78515}" presName="rootComposite1" presStyleCnt="0"/>
      <dgm:spPr/>
    </dgm:pt>
    <dgm:pt modelId="{623F0675-573B-49B0-957A-0669E58A0D82}" type="pres">
      <dgm:prSet presAssocID="{EC081332-DDA8-4FA2-8B80-D12B88C78515}" presName="rootText1" presStyleLbl="node0" presStyleIdx="0" presStyleCnt="1">
        <dgm:presLayoutVars>
          <dgm:chPref val="3"/>
        </dgm:presLayoutVars>
      </dgm:prSet>
      <dgm:spPr/>
    </dgm:pt>
    <dgm:pt modelId="{821E3771-F208-4A5F-8662-5CD047FC02F6}" type="pres">
      <dgm:prSet presAssocID="{EC081332-DDA8-4FA2-8B80-D12B88C78515}" presName="rootConnector1" presStyleLbl="node1" presStyleIdx="0" presStyleCnt="0"/>
      <dgm:spPr/>
    </dgm:pt>
    <dgm:pt modelId="{E8688C26-87CA-4F9F-BDA0-90475145DDF1}" type="pres">
      <dgm:prSet presAssocID="{EC081332-DDA8-4FA2-8B80-D12B88C78515}" presName="hierChild2" presStyleCnt="0"/>
      <dgm:spPr/>
    </dgm:pt>
    <dgm:pt modelId="{F38A79F7-4FE7-4595-B8E8-D839A0E4B501}" type="pres">
      <dgm:prSet presAssocID="{FE6206E9-2A0C-4CE6-A712-5E4F27EA7C5B}" presName="Name37" presStyleLbl="parChTrans1D2" presStyleIdx="0" presStyleCnt="6"/>
      <dgm:spPr/>
    </dgm:pt>
    <dgm:pt modelId="{CC93C20E-B992-4F18-99D2-1C9F6259D446}" type="pres">
      <dgm:prSet presAssocID="{77F5F035-4DD6-43FC-B607-C5AF375A68A0}" presName="hierRoot2" presStyleCnt="0">
        <dgm:presLayoutVars>
          <dgm:hierBranch val="init"/>
        </dgm:presLayoutVars>
      </dgm:prSet>
      <dgm:spPr/>
    </dgm:pt>
    <dgm:pt modelId="{C9032482-B3F4-47F4-A612-7AE976BCE37A}" type="pres">
      <dgm:prSet presAssocID="{77F5F035-4DD6-43FC-B607-C5AF375A68A0}" presName="rootComposite" presStyleCnt="0"/>
      <dgm:spPr/>
    </dgm:pt>
    <dgm:pt modelId="{9E267614-CEAC-4E50-9A57-BA1E496BC7EC}" type="pres">
      <dgm:prSet presAssocID="{77F5F035-4DD6-43FC-B607-C5AF375A68A0}" presName="rootText" presStyleLbl="node2" presStyleIdx="0" presStyleCnt="6">
        <dgm:presLayoutVars>
          <dgm:chPref val="3"/>
        </dgm:presLayoutVars>
      </dgm:prSet>
      <dgm:spPr/>
    </dgm:pt>
    <dgm:pt modelId="{79EC97ED-C2B7-4480-B0A8-9B6D9C325F46}" type="pres">
      <dgm:prSet presAssocID="{77F5F035-4DD6-43FC-B607-C5AF375A68A0}" presName="rootConnector" presStyleLbl="node2" presStyleIdx="0" presStyleCnt="6"/>
      <dgm:spPr/>
    </dgm:pt>
    <dgm:pt modelId="{B80D8823-94EE-467D-8229-975074E399A5}" type="pres">
      <dgm:prSet presAssocID="{77F5F035-4DD6-43FC-B607-C5AF375A68A0}" presName="hierChild4" presStyleCnt="0"/>
      <dgm:spPr/>
    </dgm:pt>
    <dgm:pt modelId="{9E9EAAB4-8E10-47DC-8B71-4F0663D72CFB}" type="pres">
      <dgm:prSet presAssocID="{77F5F035-4DD6-43FC-B607-C5AF375A68A0}" presName="hierChild5" presStyleCnt="0"/>
      <dgm:spPr/>
    </dgm:pt>
    <dgm:pt modelId="{C93404DA-8EFD-41D0-8B67-C4BC95A44D08}" type="pres">
      <dgm:prSet presAssocID="{7D92A2D9-137F-4A06-9C5E-89E902B2652C}" presName="Name37" presStyleLbl="parChTrans1D2" presStyleIdx="1" presStyleCnt="6"/>
      <dgm:spPr/>
    </dgm:pt>
    <dgm:pt modelId="{00A82F3F-E335-4BFD-8794-92F4C49160F5}" type="pres">
      <dgm:prSet presAssocID="{1E07D286-8FCE-4191-83C4-F0558F2B14E3}" presName="hierRoot2" presStyleCnt="0">
        <dgm:presLayoutVars>
          <dgm:hierBranch val="init"/>
        </dgm:presLayoutVars>
      </dgm:prSet>
      <dgm:spPr/>
    </dgm:pt>
    <dgm:pt modelId="{4AF168DA-0EC3-4354-BF83-625F89F6C045}" type="pres">
      <dgm:prSet presAssocID="{1E07D286-8FCE-4191-83C4-F0558F2B14E3}" presName="rootComposite" presStyleCnt="0"/>
      <dgm:spPr/>
    </dgm:pt>
    <dgm:pt modelId="{23E0E6CF-926D-46FC-BB8A-6E182F3B847E}" type="pres">
      <dgm:prSet presAssocID="{1E07D286-8FCE-4191-83C4-F0558F2B14E3}" presName="rootText" presStyleLbl="node2" presStyleIdx="1" presStyleCnt="6">
        <dgm:presLayoutVars>
          <dgm:chPref val="3"/>
        </dgm:presLayoutVars>
      </dgm:prSet>
      <dgm:spPr/>
    </dgm:pt>
    <dgm:pt modelId="{451BCC7E-65A7-4543-A5E7-C1A5AF0B0C07}" type="pres">
      <dgm:prSet presAssocID="{1E07D286-8FCE-4191-83C4-F0558F2B14E3}" presName="rootConnector" presStyleLbl="node2" presStyleIdx="1" presStyleCnt="6"/>
      <dgm:spPr/>
    </dgm:pt>
    <dgm:pt modelId="{92345390-3501-4A07-B474-3072CD1195C0}" type="pres">
      <dgm:prSet presAssocID="{1E07D286-8FCE-4191-83C4-F0558F2B14E3}" presName="hierChild4" presStyleCnt="0"/>
      <dgm:spPr/>
    </dgm:pt>
    <dgm:pt modelId="{C13738F3-E8C4-4958-B5B9-44E01C842A74}" type="pres">
      <dgm:prSet presAssocID="{1E07D286-8FCE-4191-83C4-F0558F2B14E3}" presName="hierChild5" presStyleCnt="0"/>
      <dgm:spPr/>
    </dgm:pt>
    <dgm:pt modelId="{1CC7895D-2E4C-4353-BA4A-90C0DBE0A932}" type="pres">
      <dgm:prSet presAssocID="{43011E53-EE71-4023-8280-F5002E8A21D8}" presName="Name37" presStyleLbl="parChTrans1D2" presStyleIdx="2" presStyleCnt="6"/>
      <dgm:spPr/>
    </dgm:pt>
    <dgm:pt modelId="{A2DC593B-B902-4200-9F45-7465B8B8FB21}" type="pres">
      <dgm:prSet presAssocID="{99A26A30-ADE5-4DD3-AC93-29D67A1BA2B2}" presName="hierRoot2" presStyleCnt="0">
        <dgm:presLayoutVars>
          <dgm:hierBranch val="init"/>
        </dgm:presLayoutVars>
      </dgm:prSet>
      <dgm:spPr/>
    </dgm:pt>
    <dgm:pt modelId="{01847287-0E06-4319-BC69-8C56BB1F2929}" type="pres">
      <dgm:prSet presAssocID="{99A26A30-ADE5-4DD3-AC93-29D67A1BA2B2}" presName="rootComposite" presStyleCnt="0"/>
      <dgm:spPr/>
    </dgm:pt>
    <dgm:pt modelId="{AC54FE31-3868-48DB-AFA0-E1CE3E66407D}" type="pres">
      <dgm:prSet presAssocID="{99A26A30-ADE5-4DD3-AC93-29D67A1BA2B2}" presName="rootText" presStyleLbl="node2" presStyleIdx="2" presStyleCnt="6">
        <dgm:presLayoutVars>
          <dgm:chPref val="3"/>
        </dgm:presLayoutVars>
      </dgm:prSet>
      <dgm:spPr/>
    </dgm:pt>
    <dgm:pt modelId="{669D87A0-7ED9-45E6-8FD5-B15211604040}" type="pres">
      <dgm:prSet presAssocID="{99A26A30-ADE5-4DD3-AC93-29D67A1BA2B2}" presName="rootConnector" presStyleLbl="node2" presStyleIdx="2" presStyleCnt="6"/>
      <dgm:spPr/>
    </dgm:pt>
    <dgm:pt modelId="{D6C08F73-1FB4-45E1-9B31-34E4C8D3FF9D}" type="pres">
      <dgm:prSet presAssocID="{99A26A30-ADE5-4DD3-AC93-29D67A1BA2B2}" presName="hierChild4" presStyleCnt="0"/>
      <dgm:spPr/>
    </dgm:pt>
    <dgm:pt modelId="{838EC7C8-418C-4037-9698-0492AB6ECC87}" type="pres">
      <dgm:prSet presAssocID="{A98D74BF-EF1F-473D-86B9-5E7D0D682520}" presName="Name37" presStyleLbl="parChTrans1D3" presStyleIdx="0" presStyleCnt="8"/>
      <dgm:spPr/>
    </dgm:pt>
    <dgm:pt modelId="{181D00C0-04A5-4ED4-85BF-A8CF03A7C45B}" type="pres">
      <dgm:prSet presAssocID="{FF3C0984-95F3-4785-BA63-CC0AB27921DE}" presName="hierRoot2" presStyleCnt="0">
        <dgm:presLayoutVars>
          <dgm:hierBranch val="init"/>
        </dgm:presLayoutVars>
      </dgm:prSet>
      <dgm:spPr/>
    </dgm:pt>
    <dgm:pt modelId="{0F18C5E7-E649-4B8F-95CC-68145D7F058B}" type="pres">
      <dgm:prSet presAssocID="{FF3C0984-95F3-4785-BA63-CC0AB27921DE}" presName="rootComposite" presStyleCnt="0"/>
      <dgm:spPr/>
    </dgm:pt>
    <dgm:pt modelId="{F777BD30-F0B3-416E-9A7D-A062C1500764}" type="pres">
      <dgm:prSet presAssocID="{FF3C0984-95F3-4785-BA63-CC0AB27921DE}" presName="rootText" presStyleLbl="node3" presStyleIdx="0" presStyleCnt="8">
        <dgm:presLayoutVars>
          <dgm:chPref val="3"/>
        </dgm:presLayoutVars>
      </dgm:prSet>
      <dgm:spPr/>
    </dgm:pt>
    <dgm:pt modelId="{BA971025-4DA7-4E85-96CB-DCCC3AAE506C}" type="pres">
      <dgm:prSet presAssocID="{FF3C0984-95F3-4785-BA63-CC0AB27921DE}" presName="rootConnector" presStyleLbl="node3" presStyleIdx="0" presStyleCnt="8"/>
      <dgm:spPr/>
    </dgm:pt>
    <dgm:pt modelId="{ADDE8267-91D7-4129-9A06-FF72FCC6F8F0}" type="pres">
      <dgm:prSet presAssocID="{FF3C0984-95F3-4785-BA63-CC0AB27921DE}" presName="hierChild4" presStyleCnt="0"/>
      <dgm:spPr/>
    </dgm:pt>
    <dgm:pt modelId="{8C1AB81B-FD9A-441D-983A-B115807256EF}" type="pres">
      <dgm:prSet presAssocID="{FF3C0984-95F3-4785-BA63-CC0AB27921DE}" presName="hierChild5" presStyleCnt="0"/>
      <dgm:spPr/>
    </dgm:pt>
    <dgm:pt modelId="{2630FF56-D671-4771-B3CE-889DDB532198}" type="pres">
      <dgm:prSet presAssocID="{D0992F66-3F0E-487E-874A-122223BFAD86}" presName="Name37" presStyleLbl="parChTrans1D3" presStyleIdx="1" presStyleCnt="8"/>
      <dgm:spPr/>
    </dgm:pt>
    <dgm:pt modelId="{444DADAD-6C5A-4853-BD7C-6D7C3023145B}" type="pres">
      <dgm:prSet presAssocID="{8F932060-8843-4BC2-9D07-B6217D1B0C1E}" presName="hierRoot2" presStyleCnt="0">
        <dgm:presLayoutVars>
          <dgm:hierBranch val="init"/>
        </dgm:presLayoutVars>
      </dgm:prSet>
      <dgm:spPr/>
    </dgm:pt>
    <dgm:pt modelId="{3F2F3C1A-1CBC-4443-952F-E27460D82528}" type="pres">
      <dgm:prSet presAssocID="{8F932060-8843-4BC2-9D07-B6217D1B0C1E}" presName="rootComposite" presStyleCnt="0"/>
      <dgm:spPr/>
    </dgm:pt>
    <dgm:pt modelId="{C4708E09-D5FD-4633-9F3D-D0D5386E8BA4}" type="pres">
      <dgm:prSet presAssocID="{8F932060-8843-4BC2-9D07-B6217D1B0C1E}" presName="rootText" presStyleLbl="node3" presStyleIdx="1" presStyleCnt="8">
        <dgm:presLayoutVars>
          <dgm:chPref val="3"/>
        </dgm:presLayoutVars>
      </dgm:prSet>
      <dgm:spPr/>
    </dgm:pt>
    <dgm:pt modelId="{BCAFC24D-CF81-4704-A9FA-684136158B8A}" type="pres">
      <dgm:prSet presAssocID="{8F932060-8843-4BC2-9D07-B6217D1B0C1E}" presName="rootConnector" presStyleLbl="node3" presStyleIdx="1" presStyleCnt="8"/>
      <dgm:spPr/>
    </dgm:pt>
    <dgm:pt modelId="{B1148FF2-E5DC-4196-ADCF-68B8F3525B38}" type="pres">
      <dgm:prSet presAssocID="{8F932060-8843-4BC2-9D07-B6217D1B0C1E}" presName="hierChild4" presStyleCnt="0"/>
      <dgm:spPr/>
    </dgm:pt>
    <dgm:pt modelId="{047BB73B-E776-4DA4-8F80-89E09724B92E}" type="pres">
      <dgm:prSet presAssocID="{8F932060-8843-4BC2-9D07-B6217D1B0C1E}" presName="hierChild5" presStyleCnt="0"/>
      <dgm:spPr/>
    </dgm:pt>
    <dgm:pt modelId="{AB97D9C0-7BB6-42FC-890F-99FA981ADF34}" type="pres">
      <dgm:prSet presAssocID="{6785794C-BE0D-4660-9985-1006C51C36AD}" presName="Name37" presStyleLbl="parChTrans1D3" presStyleIdx="2" presStyleCnt="8"/>
      <dgm:spPr/>
    </dgm:pt>
    <dgm:pt modelId="{A3CF9DE1-1F9B-45AE-8AD5-0B5D543FA3FC}" type="pres">
      <dgm:prSet presAssocID="{82DEC64D-492A-4B8D-ABF3-B44AEB9C8603}" presName="hierRoot2" presStyleCnt="0">
        <dgm:presLayoutVars>
          <dgm:hierBranch val="init"/>
        </dgm:presLayoutVars>
      </dgm:prSet>
      <dgm:spPr/>
    </dgm:pt>
    <dgm:pt modelId="{A44EDA40-028F-4B24-9E43-C6D2BE94EE8B}" type="pres">
      <dgm:prSet presAssocID="{82DEC64D-492A-4B8D-ABF3-B44AEB9C8603}" presName="rootComposite" presStyleCnt="0"/>
      <dgm:spPr/>
    </dgm:pt>
    <dgm:pt modelId="{75004E6B-2D78-4296-A03A-9482A39A16DD}" type="pres">
      <dgm:prSet presAssocID="{82DEC64D-492A-4B8D-ABF3-B44AEB9C8603}" presName="rootText" presStyleLbl="node3" presStyleIdx="2" presStyleCnt="8">
        <dgm:presLayoutVars>
          <dgm:chPref val="3"/>
        </dgm:presLayoutVars>
      </dgm:prSet>
      <dgm:spPr/>
    </dgm:pt>
    <dgm:pt modelId="{20596650-22B8-454A-B446-DD763782CE31}" type="pres">
      <dgm:prSet presAssocID="{82DEC64D-492A-4B8D-ABF3-B44AEB9C8603}" presName="rootConnector" presStyleLbl="node3" presStyleIdx="2" presStyleCnt="8"/>
      <dgm:spPr/>
    </dgm:pt>
    <dgm:pt modelId="{0355F508-1B85-4089-BD29-42BA227B9E22}" type="pres">
      <dgm:prSet presAssocID="{82DEC64D-492A-4B8D-ABF3-B44AEB9C8603}" presName="hierChild4" presStyleCnt="0"/>
      <dgm:spPr/>
    </dgm:pt>
    <dgm:pt modelId="{AB8F5E85-DD38-4936-A4E8-24649517D88F}" type="pres">
      <dgm:prSet presAssocID="{82DEC64D-492A-4B8D-ABF3-B44AEB9C8603}" presName="hierChild5" presStyleCnt="0"/>
      <dgm:spPr/>
    </dgm:pt>
    <dgm:pt modelId="{3A4DFC6B-AE61-475C-9550-C267A7579395}" type="pres">
      <dgm:prSet presAssocID="{99A26A30-ADE5-4DD3-AC93-29D67A1BA2B2}" presName="hierChild5" presStyleCnt="0"/>
      <dgm:spPr/>
    </dgm:pt>
    <dgm:pt modelId="{F001EF35-8F0E-4508-AC1B-B6D32A5B79D8}" type="pres">
      <dgm:prSet presAssocID="{9A2A66B7-69A2-4260-8A52-FDFC2344BF1A}" presName="Name37" presStyleLbl="parChTrans1D2" presStyleIdx="3" presStyleCnt="6"/>
      <dgm:spPr/>
    </dgm:pt>
    <dgm:pt modelId="{37A5EF12-362A-4DFE-B8F3-63B7868BDB5A}" type="pres">
      <dgm:prSet presAssocID="{2FFBDF77-1D49-41F0-A574-56F0F2DC5F0C}" presName="hierRoot2" presStyleCnt="0">
        <dgm:presLayoutVars>
          <dgm:hierBranch val="init"/>
        </dgm:presLayoutVars>
      </dgm:prSet>
      <dgm:spPr/>
    </dgm:pt>
    <dgm:pt modelId="{408493AD-CAFC-44B1-872C-49A0F8540261}" type="pres">
      <dgm:prSet presAssocID="{2FFBDF77-1D49-41F0-A574-56F0F2DC5F0C}" presName="rootComposite" presStyleCnt="0"/>
      <dgm:spPr/>
    </dgm:pt>
    <dgm:pt modelId="{7334989D-39FA-412A-A685-F9C8A3F319C0}" type="pres">
      <dgm:prSet presAssocID="{2FFBDF77-1D49-41F0-A574-56F0F2DC5F0C}" presName="rootText" presStyleLbl="node2" presStyleIdx="3" presStyleCnt="6">
        <dgm:presLayoutVars>
          <dgm:chPref val="3"/>
        </dgm:presLayoutVars>
      </dgm:prSet>
      <dgm:spPr/>
    </dgm:pt>
    <dgm:pt modelId="{C78B818A-06A0-4ED9-B84C-12D00292997B}" type="pres">
      <dgm:prSet presAssocID="{2FFBDF77-1D49-41F0-A574-56F0F2DC5F0C}" presName="rootConnector" presStyleLbl="node2" presStyleIdx="3" presStyleCnt="6"/>
      <dgm:spPr/>
    </dgm:pt>
    <dgm:pt modelId="{36B71980-1522-4278-B207-D38AE645AB16}" type="pres">
      <dgm:prSet presAssocID="{2FFBDF77-1D49-41F0-A574-56F0F2DC5F0C}" presName="hierChild4" presStyleCnt="0"/>
      <dgm:spPr/>
    </dgm:pt>
    <dgm:pt modelId="{26E51B24-AB5C-4898-9C72-ABD4D235D8CB}" type="pres">
      <dgm:prSet presAssocID="{E38A79AD-7A70-4373-ABD2-0FCE105E4ED8}" presName="Name37" presStyleLbl="parChTrans1D3" presStyleIdx="3" presStyleCnt="8"/>
      <dgm:spPr/>
    </dgm:pt>
    <dgm:pt modelId="{1447E9D9-E856-4AFB-B610-ABC6D5942CA9}" type="pres">
      <dgm:prSet presAssocID="{0EBE539F-A727-49E4-8C76-A4A2D4B5E339}" presName="hierRoot2" presStyleCnt="0">
        <dgm:presLayoutVars>
          <dgm:hierBranch val="init"/>
        </dgm:presLayoutVars>
      </dgm:prSet>
      <dgm:spPr/>
    </dgm:pt>
    <dgm:pt modelId="{1883F82A-3BF5-4CF3-B91A-25A8BC8586A0}" type="pres">
      <dgm:prSet presAssocID="{0EBE539F-A727-49E4-8C76-A4A2D4B5E339}" presName="rootComposite" presStyleCnt="0"/>
      <dgm:spPr/>
    </dgm:pt>
    <dgm:pt modelId="{7A0BCE84-7939-4C80-83DB-CB411CFF0C78}" type="pres">
      <dgm:prSet presAssocID="{0EBE539F-A727-49E4-8C76-A4A2D4B5E339}" presName="rootText" presStyleLbl="node3" presStyleIdx="3" presStyleCnt="8">
        <dgm:presLayoutVars>
          <dgm:chPref val="3"/>
        </dgm:presLayoutVars>
      </dgm:prSet>
      <dgm:spPr/>
    </dgm:pt>
    <dgm:pt modelId="{40FAB06F-36C1-44AE-B286-3D8BB813807B}" type="pres">
      <dgm:prSet presAssocID="{0EBE539F-A727-49E4-8C76-A4A2D4B5E339}" presName="rootConnector" presStyleLbl="node3" presStyleIdx="3" presStyleCnt="8"/>
      <dgm:spPr/>
    </dgm:pt>
    <dgm:pt modelId="{72BF55B0-A558-4CA9-A94F-9A1C8215F0D8}" type="pres">
      <dgm:prSet presAssocID="{0EBE539F-A727-49E4-8C76-A4A2D4B5E339}" presName="hierChild4" presStyleCnt="0"/>
      <dgm:spPr/>
    </dgm:pt>
    <dgm:pt modelId="{DE3BC7B8-9C52-4FBE-BD0A-26200ABC2D25}" type="pres">
      <dgm:prSet presAssocID="{0EBE539F-A727-49E4-8C76-A4A2D4B5E339}" presName="hierChild5" presStyleCnt="0"/>
      <dgm:spPr/>
    </dgm:pt>
    <dgm:pt modelId="{83170381-464E-46F3-ADA4-7BFB731EEC04}" type="pres">
      <dgm:prSet presAssocID="{79A660EF-C00D-4F54-A845-B6B9508AD09F}" presName="Name37" presStyleLbl="parChTrans1D3" presStyleIdx="4" presStyleCnt="8"/>
      <dgm:spPr/>
    </dgm:pt>
    <dgm:pt modelId="{795AB253-E163-40AD-ABAE-A2016CF1C910}" type="pres">
      <dgm:prSet presAssocID="{3661A45E-1B50-4052-ACA7-E98FD2BDBB37}" presName="hierRoot2" presStyleCnt="0">
        <dgm:presLayoutVars>
          <dgm:hierBranch val="init"/>
        </dgm:presLayoutVars>
      </dgm:prSet>
      <dgm:spPr/>
    </dgm:pt>
    <dgm:pt modelId="{D27B96AA-2C24-44A0-9055-7285CD7EF03A}" type="pres">
      <dgm:prSet presAssocID="{3661A45E-1B50-4052-ACA7-E98FD2BDBB37}" presName="rootComposite" presStyleCnt="0"/>
      <dgm:spPr/>
    </dgm:pt>
    <dgm:pt modelId="{35997AF1-4614-4857-8461-6C54BF806DA1}" type="pres">
      <dgm:prSet presAssocID="{3661A45E-1B50-4052-ACA7-E98FD2BDBB37}" presName="rootText" presStyleLbl="node3" presStyleIdx="4" presStyleCnt="8">
        <dgm:presLayoutVars>
          <dgm:chPref val="3"/>
        </dgm:presLayoutVars>
      </dgm:prSet>
      <dgm:spPr/>
    </dgm:pt>
    <dgm:pt modelId="{A2366BA2-E265-41F9-9B7A-99299E0F87F5}" type="pres">
      <dgm:prSet presAssocID="{3661A45E-1B50-4052-ACA7-E98FD2BDBB37}" presName="rootConnector" presStyleLbl="node3" presStyleIdx="4" presStyleCnt="8"/>
      <dgm:spPr/>
    </dgm:pt>
    <dgm:pt modelId="{2282D6A3-E3E7-48DD-96F3-9AF27B221475}" type="pres">
      <dgm:prSet presAssocID="{3661A45E-1B50-4052-ACA7-E98FD2BDBB37}" presName="hierChild4" presStyleCnt="0"/>
      <dgm:spPr/>
    </dgm:pt>
    <dgm:pt modelId="{8427D73D-CF3A-4D43-949F-0331234A2375}" type="pres">
      <dgm:prSet presAssocID="{3661A45E-1B50-4052-ACA7-E98FD2BDBB37}" presName="hierChild5" presStyleCnt="0"/>
      <dgm:spPr/>
    </dgm:pt>
    <dgm:pt modelId="{CEBA7FBF-E042-4187-B591-29A53848CC74}" type="pres">
      <dgm:prSet presAssocID="{FBA2AC0B-1129-4B28-B933-DDD18D49C2E7}" presName="Name37" presStyleLbl="parChTrans1D3" presStyleIdx="5" presStyleCnt="8"/>
      <dgm:spPr/>
    </dgm:pt>
    <dgm:pt modelId="{D494619D-E549-4A45-8A94-C41918DD745F}" type="pres">
      <dgm:prSet presAssocID="{C790A59F-0C9D-4A93-819F-6FC718168269}" presName="hierRoot2" presStyleCnt="0">
        <dgm:presLayoutVars>
          <dgm:hierBranch val="init"/>
        </dgm:presLayoutVars>
      </dgm:prSet>
      <dgm:spPr/>
    </dgm:pt>
    <dgm:pt modelId="{82A56150-D633-43EA-ACFA-D000492D611A}" type="pres">
      <dgm:prSet presAssocID="{C790A59F-0C9D-4A93-819F-6FC718168269}" presName="rootComposite" presStyleCnt="0"/>
      <dgm:spPr/>
    </dgm:pt>
    <dgm:pt modelId="{4624A1F4-557D-430D-8F0B-8A3CCAE1299C}" type="pres">
      <dgm:prSet presAssocID="{C790A59F-0C9D-4A93-819F-6FC718168269}" presName="rootText" presStyleLbl="node3" presStyleIdx="5" presStyleCnt="8">
        <dgm:presLayoutVars>
          <dgm:chPref val="3"/>
        </dgm:presLayoutVars>
      </dgm:prSet>
      <dgm:spPr/>
    </dgm:pt>
    <dgm:pt modelId="{7F6B27AF-2468-445E-A942-A9BE91B319A9}" type="pres">
      <dgm:prSet presAssocID="{C790A59F-0C9D-4A93-819F-6FC718168269}" presName="rootConnector" presStyleLbl="node3" presStyleIdx="5" presStyleCnt="8"/>
      <dgm:spPr/>
    </dgm:pt>
    <dgm:pt modelId="{04FD7008-82F5-454C-88F7-B04C3282C145}" type="pres">
      <dgm:prSet presAssocID="{C790A59F-0C9D-4A93-819F-6FC718168269}" presName="hierChild4" presStyleCnt="0"/>
      <dgm:spPr/>
    </dgm:pt>
    <dgm:pt modelId="{F9D37B92-E449-49C8-AB13-FAE112B080C1}" type="pres">
      <dgm:prSet presAssocID="{C790A59F-0C9D-4A93-819F-6FC718168269}" presName="hierChild5" presStyleCnt="0"/>
      <dgm:spPr/>
    </dgm:pt>
    <dgm:pt modelId="{5C4F2F87-AFA5-42B9-82D4-A869770F150F}" type="pres">
      <dgm:prSet presAssocID="{2FFBDF77-1D49-41F0-A574-56F0F2DC5F0C}" presName="hierChild5" presStyleCnt="0"/>
      <dgm:spPr/>
    </dgm:pt>
    <dgm:pt modelId="{006FB97D-722E-4231-94E4-2CBDE901DA69}" type="pres">
      <dgm:prSet presAssocID="{CB44C536-30D3-4BA9-842D-EEB89ABBEB0D}" presName="Name37" presStyleLbl="parChTrans1D2" presStyleIdx="4" presStyleCnt="6"/>
      <dgm:spPr/>
    </dgm:pt>
    <dgm:pt modelId="{C3FC9704-BA90-4C38-ACD5-544C90FD9CBF}" type="pres">
      <dgm:prSet presAssocID="{AD47AC86-6EBF-456E-8215-62227C7CA8F4}" presName="hierRoot2" presStyleCnt="0">
        <dgm:presLayoutVars>
          <dgm:hierBranch val="init"/>
        </dgm:presLayoutVars>
      </dgm:prSet>
      <dgm:spPr/>
    </dgm:pt>
    <dgm:pt modelId="{EDC1DFBD-470D-4E84-857B-4696FB4FE9F2}" type="pres">
      <dgm:prSet presAssocID="{AD47AC86-6EBF-456E-8215-62227C7CA8F4}" presName="rootComposite" presStyleCnt="0"/>
      <dgm:spPr/>
    </dgm:pt>
    <dgm:pt modelId="{61E76ED2-C097-4B23-A65E-717E7085060A}" type="pres">
      <dgm:prSet presAssocID="{AD47AC86-6EBF-456E-8215-62227C7CA8F4}" presName="rootText" presStyleLbl="node2" presStyleIdx="4" presStyleCnt="6">
        <dgm:presLayoutVars>
          <dgm:chPref val="3"/>
        </dgm:presLayoutVars>
      </dgm:prSet>
      <dgm:spPr/>
    </dgm:pt>
    <dgm:pt modelId="{5FB89C6F-0FD3-4F6B-94B5-CEA4F84BD581}" type="pres">
      <dgm:prSet presAssocID="{AD47AC86-6EBF-456E-8215-62227C7CA8F4}" presName="rootConnector" presStyleLbl="node2" presStyleIdx="4" presStyleCnt="6"/>
      <dgm:spPr/>
    </dgm:pt>
    <dgm:pt modelId="{B1957A9E-43CB-4E3F-8BA8-B9955F614FA4}" type="pres">
      <dgm:prSet presAssocID="{AD47AC86-6EBF-456E-8215-62227C7CA8F4}" presName="hierChild4" presStyleCnt="0"/>
      <dgm:spPr/>
    </dgm:pt>
    <dgm:pt modelId="{2F0481E7-8123-4387-9735-5BB9C376775D}" type="pres">
      <dgm:prSet presAssocID="{A9660091-8C91-48E8-85A7-26692B13CF1F}" presName="Name37" presStyleLbl="parChTrans1D3" presStyleIdx="6" presStyleCnt="8"/>
      <dgm:spPr/>
    </dgm:pt>
    <dgm:pt modelId="{517FAB53-EBD3-4CAD-AE62-338909682335}" type="pres">
      <dgm:prSet presAssocID="{43DDCACF-3456-463A-BDEE-AED33F2F136D}" presName="hierRoot2" presStyleCnt="0">
        <dgm:presLayoutVars>
          <dgm:hierBranch val="init"/>
        </dgm:presLayoutVars>
      </dgm:prSet>
      <dgm:spPr/>
    </dgm:pt>
    <dgm:pt modelId="{3F6AA3A6-F227-42CE-9F4A-2F73EDB94916}" type="pres">
      <dgm:prSet presAssocID="{43DDCACF-3456-463A-BDEE-AED33F2F136D}" presName="rootComposite" presStyleCnt="0"/>
      <dgm:spPr/>
    </dgm:pt>
    <dgm:pt modelId="{69CB3CD2-E008-4E71-8C8B-162FEE75F22C}" type="pres">
      <dgm:prSet presAssocID="{43DDCACF-3456-463A-BDEE-AED33F2F136D}" presName="rootText" presStyleLbl="node3" presStyleIdx="6" presStyleCnt="8">
        <dgm:presLayoutVars>
          <dgm:chPref val="3"/>
        </dgm:presLayoutVars>
      </dgm:prSet>
      <dgm:spPr/>
    </dgm:pt>
    <dgm:pt modelId="{E951A6F7-CE0E-4232-993A-BFF5C54E4C13}" type="pres">
      <dgm:prSet presAssocID="{43DDCACF-3456-463A-BDEE-AED33F2F136D}" presName="rootConnector" presStyleLbl="node3" presStyleIdx="6" presStyleCnt="8"/>
      <dgm:spPr/>
    </dgm:pt>
    <dgm:pt modelId="{50C25C0C-0CB9-414D-9564-CD4DD962B6BF}" type="pres">
      <dgm:prSet presAssocID="{43DDCACF-3456-463A-BDEE-AED33F2F136D}" presName="hierChild4" presStyleCnt="0"/>
      <dgm:spPr/>
    </dgm:pt>
    <dgm:pt modelId="{09D4BF28-06C5-48EB-9234-F420D6B0D149}" type="pres">
      <dgm:prSet presAssocID="{43DDCACF-3456-463A-BDEE-AED33F2F136D}" presName="hierChild5" presStyleCnt="0"/>
      <dgm:spPr/>
    </dgm:pt>
    <dgm:pt modelId="{6EC5BFBB-4BF4-49CC-B154-6728A59F8D18}" type="pres">
      <dgm:prSet presAssocID="{AD47AC86-6EBF-456E-8215-62227C7CA8F4}" presName="hierChild5" presStyleCnt="0"/>
      <dgm:spPr/>
    </dgm:pt>
    <dgm:pt modelId="{EDB5424B-69F3-4EBC-AC96-4937839F5143}" type="pres">
      <dgm:prSet presAssocID="{46760D09-01D3-49D3-9115-21A004B4F05E}" presName="Name37" presStyleLbl="parChTrans1D2" presStyleIdx="5" presStyleCnt="6"/>
      <dgm:spPr/>
    </dgm:pt>
    <dgm:pt modelId="{84BF1D76-8CE0-4CFA-85D8-71C6EA6A97D2}" type="pres">
      <dgm:prSet presAssocID="{2622101F-52F6-4DEA-8613-3B8ACB9E66B9}" presName="hierRoot2" presStyleCnt="0">
        <dgm:presLayoutVars>
          <dgm:hierBranch val="init"/>
        </dgm:presLayoutVars>
      </dgm:prSet>
      <dgm:spPr/>
    </dgm:pt>
    <dgm:pt modelId="{1FC9A653-222E-40F0-991A-60BC9FD1FDEF}" type="pres">
      <dgm:prSet presAssocID="{2622101F-52F6-4DEA-8613-3B8ACB9E66B9}" presName="rootComposite" presStyleCnt="0"/>
      <dgm:spPr/>
    </dgm:pt>
    <dgm:pt modelId="{62008004-9441-4030-8C35-1B9FD19E9CD2}" type="pres">
      <dgm:prSet presAssocID="{2622101F-52F6-4DEA-8613-3B8ACB9E66B9}" presName="rootText" presStyleLbl="node2" presStyleIdx="5" presStyleCnt="6">
        <dgm:presLayoutVars>
          <dgm:chPref val="3"/>
        </dgm:presLayoutVars>
      </dgm:prSet>
      <dgm:spPr/>
    </dgm:pt>
    <dgm:pt modelId="{E98A1221-9E02-4E53-9BD8-4B3601C7ABE5}" type="pres">
      <dgm:prSet presAssocID="{2622101F-52F6-4DEA-8613-3B8ACB9E66B9}" presName="rootConnector" presStyleLbl="node2" presStyleIdx="5" presStyleCnt="6"/>
      <dgm:spPr/>
    </dgm:pt>
    <dgm:pt modelId="{72FDC06F-23A4-47F0-B47F-4A7F70896AD8}" type="pres">
      <dgm:prSet presAssocID="{2622101F-52F6-4DEA-8613-3B8ACB9E66B9}" presName="hierChild4" presStyleCnt="0"/>
      <dgm:spPr/>
    </dgm:pt>
    <dgm:pt modelId="{D016E868-3AA4-42B3-BB7F-B7050A9C4C3C}" type="pres">
      <dgm:prSet presAssocID="{EBD64C4C-A20D-4828-882C-8AB863E68B47}" presName="Name37" presStyleLbl="parChTrans1D3" presStyleIdx="7" presStyleCnt="8"/>
      <dgm:spPr/>
    </dgm:pt>
    <dgm:pt modelId="{D9E85926-F88B-4F39-893F-F259CBBF491A}" type="pres">
      <dgm:prSet presAssocID="{4E660FF5-AECB-4E21-8C28-9B1390B3626F}" presName="hierRoot2" presStyleCnt="0">
        <dgm:presLayoutVars>
          <dgm:hierBranch val="init"/>
        </dgm:presLayoutVars>
      </dgm:prSet>
      <dgm:spPr/>
    </dgm:pt>
    <dgm:pt modelId="{833C4303-3599-414B-A990-7815E99C7658}" type="pres">
      <dgm:prSet presAssocID="{4E660FF5-AECB-4E21-8C28-9B1390B3626F}" presName="rootComposite" presStyleCnt="0"/>
      <dgm:spPr/>
    </dgm:pt>
    <dgm:pt modelId="{29F0B1B4-563D-4B1E-9EBD-17978F8461AD}" type="pres">
      <dgm:prSet presAssocID="{4E660FF5-AECB-4E21-8C28-9B1390B3626F}" presName="rootText" presStyleLbl="node3" presStyleIdx="7" presStyleCnt="8">
        <dgm:presLayoutVars>
          <dgm:chPref val="3"/>
        </dgm:presLayoutVars>
      </dgm:prSet>
      <dgm:spPr/>
    </dgm:pt>
    <dgm:pt modelId="{0D1EDAC0-66F1-4693-9114-E62CFC251E1C}" type="pres">
      <dgm:prSet presAssocID="{4E660FF5-AECB-4E21-8C28-9B1390B3626F}" presName="rootConnector" presStyleLbl="node3" presStyleIdx="7" presStyleCnt="8"/>
      <dgm:spPr/>
    </dgm:pt>
    <dgm:pt modelId="{DC554788-5015-4835-A9A3-3B1E90C6C5F7}" type="pres">
      <dgm:prSet presAssocID="{4E660FF5-AECB-4E21-8C28-9B1390B3626F}" presName="hierChild4" presStyleCnt="0"/>
      <dgm:spPr/>
    </dgm:pt>
    <dgm:pt modelId="{49C1A884-02C5-4774-A90F-C36985D46F7B}" type="pres">
      <dgm:prSet presAssocID="{4E660FF5-AECB-4E21-8C28-9B1390B3626F}" presName="hierChild5" presStyleCnt="0"/>
      <dgm:spPr/>
    </dgm:pt>
    <dgm:pt modelId="{03736C30-68F6-4477-ACEC-AE24AA155C20}" type="pres">
      <dgm:prSet presAssocID="{2622101F-52F6-4DEA-8613-3B8ACB9E66B9}" presName="hierChild5" presStyleCnt="0"/>
      <dgm:spPr/>
    </dgm:pt>
    <dgm:pt modelId="{B017AFBA-AC69-4BEF-A9E4-32A23E06789B}" type="pres">
      <dgm:prSet presAssocID="{EC081332-DDA8-4FA2-8B80-D12B88C78515}" presName="hierChild3" presStyleCnt="0"/>
      <dgm:spPr/>
    </dgm:pt>
  </dgm:ptLst>
  <dgm:cxnLst>
    <dgm:cxn modelId="{3AD0D205-0193-4410-BA27-1EE583717DE2}" type="presOf" srcId="{82DEC64D-492A-4B8D-ABF3-B44AEB9C8603}" destId="{20596650-22B8-454A-B446-DD763782CE31}" srcOrd="1" destOrd="0" presId="urn:microsoft.com/office/officeart/2005/8/layout/orgChart1"/>
    <dgm:cxn modelId="{81DD140A-81AF-48A3-9D9A-B7A308846263}" srcId="{EC081332-DDA8-4FA2-8B80-D12B88C78515}" destId="{99A26A30-ADE5-4DD3-AC93-29D67A1BA2B2}" srcOrd="2" destOrd="0" parTransId="{43011E53-EE71-4023-8280-F5002E8A21D8}" sibTransId="{25D7CA9D-6F8F-42A6-902D-4BD5F9FFCF81}"/>
    <dgm:cxn modelId="{92C38D0A-FAA2-4C37-8490-13FB032562AD}" type="presOf" srcId="{4E660FF5-AECB-4E21-8C28-9B1390B3626F}" destId="{29F0B1B4-563D-4B1E-9EBD-17978F8461AD}" srcOrd="0" destOrd="0" presId="urn:microsoft.com/office/officeart/2005/8/layout/orgChart1"/>
    <dgm:cxn modelId="{77F49910-1DF0-4052-B258-35448639AF5A}" type="presOf" srcId="{8F932060-8843-4BC2-9D07-B6217D1B0C1E}" destId="{C4708E09-D5FD-4633-9F3D-D0D5386E8BA4}" srcOrd="0" destOrd="0" presId="urn:microsoft.com/office/officeart/2005/8/layout/orgChart1"/>
    <dgm:cxn modelId="{F3722D13-1F0A-445C-AE3C-C0AF2169F3BC}" type="presOf" srcId="{2FFBDF77-1D49-41F0-A574-56F0F2DC5F0C}" destId="{7334989D-39FA-412A-A685-F9C8A3F319C0}" srcOrd="0" destOrd="0" presId="urn:microsoft.com/office/officeart/2005/8/layout/orgChart1"/>
    <dgm:cxn modelId="{3EF04814-6D94-4852-99CA-5B6FE662C511}" type="presOf" srcId="{FF3C0984-95F3-4785-BA63-CC0AB27921DE}" destId="{F777BD30-F0B3-416E-9A7D-A062C1500764}" srcOrd="0" destOrd="0" presId="urn:microsoft.com/office/officeart/2005/8/layout/orgChart1"/>
    <dgm:cxn modelId="{7572CD19-1548-4B4C-B340-F2E619737F97}" srcId="{F57CD458-CFCD-4601-8B3A-E5F0A2C7A149}" destId="{EC081332-DDA8-4FA2-8B80-D12B88C78515}" srcOrd="0" destOrd="0" parTransId="{14CC6415-F3D0-4BBD-9D6F-E5F143CB54D8}" sibTransId="{75C85749-891B-429B-B45C-461BD81186A5}"/>
    <dgm:cxn modelId="{9ACC591D-A20B-4642-8638-8ACF3D9800E7}" srcId="{EC081332-DDA8-4FA2-8B80-D12B88C78515}" destId="{1E07D286-8FCE-4191-83C4-F0558F2B14E3}" srcOrd="1" destOrd="0" parTransId="{7D92A2D9-137F-4A06-9C5E-89E902B2652C}" sibTransId="{E3A78DDE-182E-41CA-8637-8C1A5D2E5605}"/>
    <dgm:cxn modelId="{C1AF1A23-6E14-44CD-8703-488D2579A010}" type="presOf" srcId="{3661A45E-1B50-4052-ACA7-E98FD2BDBB37}" destId="{35997AF1-4614-4857-8461-6C54BF806DA1}" srcOrd="0" destOrd="0" presId="urn:microsoft.com/office/officeart/2005/8/layout/orgChart1"/>
    <dgm:cxn modelId="{86529326-DB48-47AF-8CFF-C8D9E969456D}" type="presOf" srcId="{0EBE539F-A727-49E4-8C76-A4A2D4B5E339}" destId="{40FAB06F-36C1-44AE-B286-3D8BB813807B}" srcOrd="1" destOrd="0" presId="urn:microsoft.com/office/officeart/2005/8/layout/orgChart1"/>
    <dgm:cxn modelId="{F0D90130-CEF1-4A40-81C4-6B260B54A6AF}" type="presOf" srcId="{2622101F-52F6-4DEA-8613-3B8ACB9E66B9}" destId="{62008004-9441-4030-8C35-1B9FD19E9CD2}" srcOrd="0" destOrd="0" presId="urn:microsoft.com/office/officeart/2005/8/layout/orgChart1"/>
    <dgm:cxn modelId="{82852A3B-2C95-48E5-A547-FF90202AE20A}" type="presOf" srcId="{C790A59F-0C9D-4A93-819F-6FC718168269}" destId="{7F6B27AF-2468-445E-A942-A9BE91B319A9}" srcOrd="1" destOrd="0" presId="urn:microsoft.com/office/officeart/2005/8/layout/orgChart1"/>
    <dgm:cxn modelId="{310CA03D-41E3-4AD6-922B-054DE853CA3D}" type="presOf" srcId="{D0992F66-3F0E-487E-874A-122223BFAD86}" destId="{2630FF56-D671-4771-B3CE-889DDB532198}" srcOrd="0" destOrd="0" presId="urn:microsoft.com/office/officeart/2005/8/layout/orgChart1"/>
    <dgm:cxn modelId="{3B40CD5C-EE9F-41C3-9556-FE972186BDEE}" srcId="{2622101F-52F6-4DEA-8613-3B8ACB9E66B9}" destId="{4E660FF5-AECB-4E21-8C28-9B1390B3626F}" srcOrd="0" destOrd="0" parTransId="{EBD64C4C-A20D-4828-882C-8AB863E68B47}" sibTransId="{A09C7163-88C3-419C-A53F-3E01007B2612}"/>
    <dgm:cxn modelId="{6727F45E-F608-4A9A-8B3C-A0DE67888F7F}" type="presOf" srcId="{1E07D286-8FCE-4191-83C4-F0558F2B14E3}" destId="{451BCC7E-65A7-4543-A5E7-C1A5AF0B0C07}" srcOrd="1" destOrd="0" presId="urn:microsoft.com/office/officeart/2005/8/layout/orgChart1"/>
    <dgm:cxn modelId="{5612B75F-D902-47C3-B7D1-C2103C0A83EB}" type="presOf" srcId="{FE6206E9-2A0C-4CE6-A712-5E4F27EA7C5B}" destId="{F38A79F7-4FE7-4595-B8E8-D839A0E4B501}" srcOrd="0" destOrd="0" presId="urn:microsoft.com/office/officeart/2005/8/layout/orgChart1"/>
    <dgm:cxn modelId="{A1B39564-5C75-41C6-B174-06968542AA9E}" type="presOf" srcId="{E38A79AD-7A70-4373-ABD2-0FCE105E4ED8}" destId="{26E51B24-AB5C-4898-9C72-ABD4D235D8CB}" srcOrd="0" destOrd="0" presId="urn:microsoft.com/office/officeart/2005/8/layout/orgChart1"/>
    <dgm:cxn modelId="{78886266-597A-4A57-AA48-F517521647E6}" type="presOf" srcId="{99A26A30-ADE5-4DD3-AC93-29D67A1BA2B2}" destId="{669D87A0-7ED9-45E6-8FD5-B15211604040}" srcOrd="1" destOrd="0" presId="urn:microsoft.com/office/officeart/2005/8/layout/orgChart1"/>
    <dgm:cxn modelId="{DF5D9766-ED63-4A78-AD8B-CA8432377822}" type="presOf" srcId="{AD47AC86-6EBF-456E-8215-62227C7CA8F4}" destId="{61E76ED2-C097-4B23-A65E-717E7085060A}" srcOrd="0" destOrd="0" presId="urn:microsoft.com/office/officeart/2005/8/layout/orgChart1"/>
    <dgm:cxn modelId="{D3A9F347-1682-4430-B3F4-6AC960DAA21D}" type="presOf" srcId="{3661A45E-1B50-4052-ACA7-E98FD2BDBB37}" destId="{A2366BA2-E265-41F9-9B7A-99299E0F87F5}" srcOrd="1" destOrd="0" presId="urn:microsoft.com/office/officeart/2005/8/layout/orgChart1"/>
    <dgm:cxn modelId="{5D964F49-92DA-47AC-B8AE-163559C9D01E}" type="presOf" srcId="{9A2A66B7-69A2-4260-8A52-FDFC2344BF1A}" destId="{F001EF35-8F0E-4508-AC1B-B6D32A5B79D8}" srcOrd="0" destOrd="0" presId="urn:microsoft.com/office/officeart/2005/8/layout/orgChart1"/>
    <dgm:cxn modelId="{0E1DF469-6AEC-407A-8CD5-945976683C6A}" type="presOf" srcId="{8F932060-8843-4BC2-9D07-B6217D1B0C1E}" destId="{BCAFC24D-CF81-4704-A9FA-684136158B8A}" srcOrd="1" destOrd="0" presId="urn:microsoft.com/office/officeart/2005/8/layout/orgChart1"/>
    <dgm:cxn modelId="{79E23E6B-D119-4FAB-BF55-133FBB8244FB}" type="presOf" srcId="{FBA2AC0B-1129-4B28-B933-DDD18D49C2E7}" destId="{CEBA7FBF-E042-4187-B591-29A53848CC74}" srcOrd="0" destOrd="0" presId="urn:microsoft.com/office/officeart/2005/8/layout/orgChart1"/>
    <dgm:cxn modelId="{7F3B824B-2A0C-45AB-BF47-138F59874DDB}" type="presOf" srcId="{F57CD458-CFCD-4601-8B3A-E5F0A2C7A149}" destId="{3627E3BC-8364-40AF-81E2-D34B9C9C642E}" srcOrd="0" destOrd="0" presId="urn:microsoft.com/office/officeart/2005/8/layout/orgChart1"/>
    <dgm:cxn modelId="{BB00534D-7B77-44A5-9CA3-532B8E6C8EC2}" srcId="{99A26A30-ADE5-4DD3-AC93-29D67A1BA2B2}" destId="{82DEC64D-492A-4B8D-ABF3-B44AEB9C8603}" srcOrd="2" destOrd="0" parTransId="{6785794C-BE0D-4660-9985-1006C51C36AD}" sibTransId="{8B1D2250-F170-4845-B4A3-F62534C37DBA}"/>
    <dgm:cxn modelId="{5B280270-36C6-4DEE-B77B-A60746D6CCCE}" type="presOf" srcId="{7D92A2D9-137F-4A06-9C5E-89E902B2652C}" destId="{C93404DA-8EFD-41D0-8B67-C4BC95A44D08}" srcOrd="0" destOrd="0" presId="urn:microsoft.com/office/officeart/2005/8/layout/orgChart1"/>
    <dgm:cxn modelId="{0257E174-19D4-474B-BD83-572A43563365}" type="presOf" srcId="{A98D74BF-EF1F-473D-86B9-5E7D0D682520}" destId="{838EC7C8-418C-4037-9698-0492AB6ECC87}" srcOrd="0" destOrd="0" presId="urn:microsoft.com/office/officeart/2005/8/layout/orgChart1"/>
    <dgm:cxn modelId="{27D1B575-8944-4A79-985B-0AF6C55FB5A6}" type="presOf" srcId="{FF3C0984-95F3-4785-BA63-CC0AB27921DE}" destId="{BA971025-4DA7-4E85-96CB-DCCC3AAE506C}" srcOrd="1" destOrd="0" presId="urn:microsoft.com/office/officeart/2005/8/layout/orgChart1"/>
    <dgm:cxn modelId="{BDF28478-C15A-4CD0-BDDF-D416241E4E19}" srcId="{99A26A30-ADE5-4DD3-AC93-29D67A1BA2B2}" destId="{8F932060-8843-4BC2-9D07-B6217D1B0C1E}" srcOrd="1" destOrd="0" parTransId="{D0992F66-3F0E-487E-874A-122223BFAD86}" sibTransId="{DBFD4C86-296C-413F-9897-A9664923131E}"/>
    <dgm:cxn modelId="{66266480-FABF-4FAF-88B0-9615F6603486}" srcId="{2FFBDF77-1D49-41F0-A574-56F0F2DC5F0C}" destId="{0EBE539F-A727-49E4-8C76-A4A2D4B5E339}" srcOrd="0" destOrd="0" parTransId="{E38A79AD-7A70-4373-ABD2-0FCE105E4ED8}" sibTransId="{24285258-EB12-44F6-A245-C9E011B56024}"/>
    <dgm:cxn modelId="{AC0FB186-A172-4FA0-A5FD-04B2F3FEFACF}" type="presOf" srcId="{4E660FF5-AECB-4E21-8C28-9B1390B3626F}" destId="{0D1EDAC0-66F1-4693-9114-E62CFC251E1C}" srcOrd="1" destOrd="0" presId="urn:microsoft.com/office/officeart/2005/8/layout/orgChart1"/>
    <dgm:cxn modelId="{1A83348A-349B-4635-9625-4A50D6ECEE5E}" type="presOf" srcId="{2FFBDF77-1D49-41F0-A574-56F0F2DC5F0C}" destId="{C78B818A-06A0-4ED9-B84C-12D00292997B}" srcOrd="1" destOrd="0" presId="urn:microsoft.com/office/officeart/2005/8/layout/orgChart1"/>
    <dgm:cxn modelId="{5AEC868A-E9EE-4618-81C2-CA0F686D2C5E}" srcId="{EC081332-DDA8-4FA2-8B80-D12B88C78515}" destId="{2FFBDF77-1D49-41F0-A574-56F0F2DC5F0C}" srcOrd="3" destOrd="0" parTransId="{9A2A66B7-69A2-4260-8A52-FDFC2344BF1A}" sibTransId="{C4AFFDA9-62B9-4D03-ACE7-E67B68C11854}"/>
    <dgm:cxn modelId="{0D16AE8A-4DD3-4776-BE73-5ECC6DF93F55}" srcId="{2FFBDF77-1D49-41F0-A574-56F0F2DC5F0C}" destId="{C790A59F-0C9D-4A93-819F-6FC718168269}" srcOrd="2" destOrd="0" parTransId="{FBA2AC0B-1129-4B28-B933-DDD18D49C2E7}" sibTransId="{1547DCD3-A54E-4520-A83D-8E39EC117BE1}"/>
    <dgm:cxn modelId="{381A4E8B-798E-45BA-BC3F-15B3D58F8351}" type="presOf" srcId="{99A26A30-ADE5-4DD3-AC93-29D67A1BA2B2}" destId="{AC54FE31-3868-48DB-AFA0-E1CE3E66407D}" srcOrd="0" destOrd="0" presId="urn:microsoft.com/office/officeart/2005/8/layout/orgChart1"/>
    <dgm:cxn modelId="{1470058E-5F47-4B78-AE25-0F56A0EE1DF1}" type="presOf" srcId="{79A660EF-C00D-4F54-A845-B6B9508AD09F}" destId="{83170381-464E-46F3-ADA4-7BFB731EEC04}" srcOrd="0" destOrd="0" presId="urn:microsoft.com/office/officeart/2005/8/layout/orgChart1"/>
    <dgm:cxn modelId="{5C927A8E-642C-4EFB-844F-7946AFB42487}" srcId="{2FFBDF77-1D49-41F0-A574-56F0F2DC5F0C}" destId="{3661A45E-1B50-4052-ACA7-E98FD2BDBB37}" srcOrd="1" destOrd="0" parTransId="{79A660EF-C00D-4F54-A845-B6B9508AD09F}" sibTransId="{7DEDFB48-9553-4D25-9A41-B79D67FAF41E}"/>
    <dgm:cxn modelId="{0C751896-489B-4E79-8AB1-CFEBB1AC4CDD}" type="presOf" srcId="{43DDCACF-3456-463A-BDEE-AED33F2F136D}" destId="{69CB3CD2-E008-4E71-8C8B-162FEE75F22C}" srcOrd="0" destOrd="0" presId="urn:microsoft.com/office/officeart/2005/8/layout/orgChart1"/>
    <dgm:cxn modelId="{BE348D96-BE7A-402F-88E6-966C675B187F}" type="presOf" srcId="{77F5F035-4DD6-43FC-B607-C5AF375A68A0}" destId="{9E267614-CEAC-4E50-9A57-BA1E496BC7EC}" srcOrd="0" destOrd="0" presId="urn:microsoft.com/office/officeart/2005/8/layout/orgChart1"/>
    <dgm:cxn modelId="{C4178E9C-F59F-4E13-B0F8-B02FA9A35DF2}" type="presOf" srcId="{EBD64C4C-A20D-4828-882C-8AB863E68B47}" destId="{D016E868-3AA4-42B3-BB7F-B7050A9C4C3C}" srcOrd="0" destOrd="0" presId="urn:microsoft.com/office/officeart/2005/8/layout/orgChart1"/>
    <dgm:cxn modelId="{3F6DB09F-6A35-488B-9688-C4A83E191728}" type="presOf" srcId="{77F5F035-4DD6-43FC-B607-C5AF375A68A0}" destId="{79EC97ED-C2B7-4480-B0A8-9B6D9C325F46}" srcOrd="1" destOrd="0" presId="urn:microsoft.com/office/officeart/2005/8/layout/orgChart1"/>
    <dgm:cxn modelId="{05DF31A3-D973-4A91-B60A-E04991D62CA3}" type="presOf" srcId="{EC081332-DDA8-4FA2-8B80-D12B88C78515}" destId="{623F0675-573B-49B0-957A-0669E58A0D82}" srcOrd="0" destOrd="0" presId="urn:microsoft.com/office/officeart/2005/8/layout/orgChart1"/>
    <dgm:cxn modelId="{93236AA5-5BB7-4577-9337-E975EEAD90D8}" type="presOf" srcId="{EC081332-DDA8-4FA2-8B80-D12B88C78515}" destId="{821E3771-F208-4A5F-8662-5CD047FC02F6}" srcOrd="1" destOrd="0" presId="urn:microsoft.com/office/officeart/2005/8/layout/orgChart1"/>
    <dgm:cxn modelId="{60BD4CB6-8134-41A5-B9DA-6DF98B048FB2}" type="presOf" srcId="{1E07D286-8FCE-4191-83C4-F0558F2B14E3}" destId="{23E0E6CF-926D-46FC-BB8A-6E182F3B847E}" srcOrd="0" destOrd="0" presId="urn:microsoft.com/office/officeart/2005/8/layout/orgChart1"/>
    <dgm:cxn modelId="{3F9D1FB7-83A8-486F-8A41-927DA9956578}" srcId="{EC081332-DDA8-4FA2-8B80-D12B88C78515}" destId="{AD47AC86-6EBF-456E-8215-62227C7CA8F4}" srcOrd="4" destOrd="0" parTransId="{CB44C536-30D3-4BA9-842D-EEB89ABBEB0D}" sibTransId="{244A4FA9-E298-44A2-B653-2B4F7AA989A7}"/>
    <dgm:cxn modelId="{33CC75BB-6A55-4530-A823-506E8794409B}" type="presOf" srcId="{2622101F-52F6-4DEA-8613-3B8ACB9E66B9}" destId="{E98A1221-9E02-4E53-9BD8-4B3601C7ABE5}" srcOrd="1" destOrd="0" presId="urn:microsoft.com/office/officeart/2005/8/layout/orgChart1"/>
    <dgm:cxn modelId="{A82ACBBE-E146-4A05-ADB3-A699DA0641A3}" type="presOf" srcId="{82DEC64D-492A-4B8D-ABF3-B44AEB9C8603}" destId="{75004E6B-2D78-4296-A03A-9482A39A16DD}" srcOrd="0" destOrd="0" presId="urn:microsoft.com/office/officeart/2005/8/layout/orgChart1"/>
    <dgm:cxn modelId="{04EB62BF-64C3-4B29-A1AC-CC40B4482498}" type="presOf" srcId="{6785794C-BE0D-4660-9985-1006C51C36AD}" destId="{AB97D9C0-7BB6-42FC-890F-99FA981ADF34}" srcOrd="0" destOrd="0" presId="urn:microsoft.com/office/officeart/2005/8/layout/orgChart1"/>
    <dgm:cxn modelId="{BC256CC3-BA1C-463D-8B7B-44F3A28ED1F2}" type="presOf" srcId="{CB44C536-30D3-4BA9-842D-EEB89ABBEB0D}" destId="{006FB97D-722E-4231-94E4-2CBDE901DA69}" srcOrd="0" destOrd="0" presId="urn:microsoft.com/office/officeart/2005/8/layout/orgChart1"/>
    <dgm:cxn modelId="{5FACF0C8-CD66-4777-8997-A021581923EA}" type="presOf" srcId="{0EBE539F-A727-49E4-8C76-A4A2D4B5E339}" destId="{7A0BCE84-7939-4C80-83DB-CB411CFF0C78}" srcOrd="0" destOrd="0" presId="urn:microsoft.com/office/officeart/2005/8/layout/orgChart1"/>
    <dgm:cxn modelId="{BCEED9CB-F34B-444E-B6E6-54DB7C391E75}" type="presOf" srcId="{43011E53-EE71-4023-8280-F5002E8A21D8}" destId="{1CC7895D-2E4C-4353-BA4A-90C0DBE0A932}" srcOrd="0" destOrd="0" presId="urn:microsoft.com/office/officeart/2005/8/layout/orgChart1"/>
    <dgm:cxn modelId="{1728ABCD-8B0A-42CB-87B3-DCB96BEB700E}" srcId="{EC081332-DDA8-4FA2-8B80-D12B88C78515}" destId="{77F5F035-4DD6-43FC-B607-C5AF375A68A0}" srcOrd="0" destOrd="0" parTransId="{FE6206E9-2A0C-4CE6-A712-5E4F27EA7C5B}" sibTransId="{73E467B3-AD28-4A63-A614-983E82E1F9CE}"/>
    <dgm:cxn modelId="{EB6F9FD8-4FE7-4252-B059-9686FE5576F1}" srcId="{AD47AC86-6EBF-456E-8215-62227C7CA8F4}" destId="{43DDCACF-3456-463A-BDEE-AED33F2F136D}" srcOrd="0" destOrd="0" parTransId="{A9660091-8C91-48E8-85A7-26692B13CF1F}" sibTransId="{1D70EC5F-6537-49BA-B04E-8628197C52E9}"/>
    <dgm:cxn modelId="{A74B5DDF-3C75-4ED7-8557-9E5521EC1A43}" srcId="{99A26A30-ADE5-4DD3-AC93-29D67A1BA2B2}" destId="{FF3C0984-95F3-4785-BA63-CC0AB27921DE}" srcOrd="0" destOrd="0" parTransId="{A98D74BF-EF1F-473D-86B9-5E7D0D682520}" sibTransId="{47736F65-0CDE-4C0B-8DF4-31D153E0F7F1}"/>
    <dgm:cxn modelId="{2D812CE3-E808-46CE-A291-9951021A45FC}" type="presOf" srcId="{A9660091-8C91-48E8-85A7-26692B13CF1F}" destId="{2F0481E7-8123-4387-9735-5BB9C376775D}" srcOrd="0" destOrd="0" presId="urn:microsoft.com/office/officeart/2005/8/layout/orgChart1"/>
    <dgm:cxn modelId="{3F638BEC-1B2F-4B21-9F9F-7037491DD2CD}" type="presOf" srcId="{46760D09-01D3-49D3-9115-21A004B4F05E}" destId="{EDB5424B-69F3-4EBC-AC96-4937839F5143}" srcOrd="0" destOrd="0" presId="urn:microsoft.com/office/officeart/2005/8/layout/orgChart1"/>
    <dgm:cxn modelId="{815275EE-C10A-499F-B203-0260231A6866}" srcId="{EC081332-DDA8-4FA2-8B80-D12B88C78515}" destId="{2622101F-52F6-4DEA-8613-3B8ACB9E66B9}" srcOrd="5" destOrd="0" parTransId="{46760D09-01D3-49D3-9115-21A004B4F05E}" sibTransId="{B7E2B9C6-5488-42D2-AB1C-CFA39CE4988A}"/>
    <dgm:cxn modelId="{07950AF9-CD7E-4CAE-9FD4-23F2A6215754}" type="presOf" srcId="{43DDCACF-3456-463A-BDEE-AED33F2F136D}" destId="{E951A6F7-CE0E-4232-993A-BFF5C54E4C13}" srcOrd="1" destOrd="0" presId="urn:microsoft.com/office/officeart/2005/8/layout/orgChart1"/>
    <dgm:cxn modelId="{1BE832FC-4E6A-4930-8BD1-84BFCC799D50}" type="presOf" srcId="{C790A59F-0C9D-4A93-819F-6FC718168269}" destId="{4624A1F4-557D-430D-8F0B-8A3CCAE1299C}" srcOrd="0" destOrd="0" presId="urn:microsoft.com/office/officeart/2005/8/layout/orgChart1"/>
    <dgm:cxn modelId="{39D010FD-87D7-4C42-B74E-57ABC7254B49}" type="presOf" srcId="{AD47AC86-6EBF-456E-8215-62227C7CA8F4}" destId="{5FB89C6F-0FD3-4F6B-94B5-CEA4F84BD581}" srcOrd="1" destOrd="0" presId="urn:microsoft.com/office/officeart/2005/8/layout/orgChart1"/>
    <dgm:cxn modelId="{C14D9F94-D268-4ADB-A43C-45C33B56FBFD}" type="presParOf" srcId="{3627E3BC-8364-40AF-81E2-D34B9C9C642E}" destId="{11608915-27DF-4DBA-A424-5CC0EF4B450E}" srcOrd="0" destOrd="0" presId="urn:microsoft.com/office/officeart/2005/8/layout/orgChart1"/>
    <dgm:cxn modelId="{BE51C4DE-93D6-43E9-B71C-6CD426833A18}" type="presParOf" srcId="{11608915-27DF-4DBA-A424-5CC0EF4B450E}" destId="{DD557F8B-CBD8-480C-B25E-0C9578CAAAA7}" srcOrd="0" destOrd="0" presId="urn:microsoft.com/office/officeart/2005/8/layout/orgChart1"/>
    <dgm:cxn modelId="{6B697E17-01D5-4487-90BA-3CDD21500B26}" type="presParOf" srcId="{DD557F8B-CBD8-480C-B25E-0C9578CAAAA7}" destId="{623F0675-573B-49B0-957A-0669E58A0D82}" srcOrd="0" destOrd="0" presId="urn:microsoft.com/office/officeart/2005/8/layout/orgChart1"/>
    <dgm:cxn modelId="{A3605DD2-7FF2-4F73-BC05-15FECB23E20A}" type="presParOf" srcId="{DD557F8B-CBD8-480C-B25E-0C9578CAAAA7}" destId="{821E3771-F208-4A5F-8662-5CD047FC02F6}" srcOrd="1" destOrd="0" presId="urn:microsoft.com/office/officeart/2005/8/layout/orgChart1"/>
    <dgm:cxn modelId="{79A03662-C1D5-4F57-BAB4-1811A030AC90}" type="presParOf" srcId="{11608915-27DF-4DBA-A424-5CC0EF4B450E}" destId="{E8688C26-87CA-4F9F-BDA0-90475145DDF1}" srcOrd="1" destOrd="0" presId="urn:microsoft.com/office/officeart/2005/8/layout/orgChart1"/>
    <dgm:cxn modelId="{B6DBD5E8-B6B7-4FB6-9437-4B26BD8A9B94}" type="presParOf" srcId="{E8688C26-87CA-4F9F-BDA0-90475145DDF1}" destId="{F38A79F7-4FE7-4595-B8E8-D839A0E4B501}" srcOrd="0" destOrd="0" presId="urn:microsoft.com/office/officeart/2005/8/layout/orgChart1"/>
    <dgm:cxn modelId="{AE128AD1-04B3-48C3-B532-43ED7A43CA67}" type="presParOf" srcId="{E8688C26-87CA-4F9F-BDA0-90475145DDF1}" destId="{CC93C20E-B992-4F18-99D2-1C9F6259D446}" srcOrd="1" destOrd="0" presId="urn:microsoft.com/office/officeart/2005/8/layout/orgChart1"/>
    <dgm:cxn modelId="{EA5E7FAC-C455-4CB5-85ED-C62D73A44D52}" type="presParOf" srcId="{CC93C20E-B992-4F18-99D2-1C9F6259D446}" destId="{C9032482-B3F4-47F4-A612-7AE976BCE37A}" srcOrd="0" destOrd="0" presId="urn:microsoft.com/office/officeart/2005/8/layout/orgChart1"/>
    <dgm:cxn modelId="{10D5A3CE-CCF3-41F8-B97B-167DFB3AFA1C}" type="presParOf" srcId="{C9032482-B3F4-47F4-A612-7AE976BCE37A}" destId="{9E267614-CEAC-4E50-9A57-BA1E496BC7EC}" srcOrd="0" destOrd="0" presId="urn:microsoft.com/office/officeart/2005/8/layout/orgChart1"/>
    <dgm:cxn modelId="{675BF7A2-28C9-4969-A9BC-F599ED1482E4}" type="presParOf" srcId="{C9032482-B3F4-47F4-A612-7AE976BCE37A}" destId="{79EC97ED-C2B7-4480-B0A8-9B6D9C325F46}" srcOrd="1" destOrd="0" presId="urn:microsoft.com/office/officeart/2005/8/layout/orgChart1"/>
    <dgm:cxn modelId="{8460E1F1-9656-43D6-A320-036E582B243F}" type="presParOf" srcId="{CC93C20E-B992-4F18-99D2-1C9F6259D446}" destId="{B80D8823-94EE-467D-8229-975074E399A5}" srcOrd="1" destOrd="0" presId="urn:microsoft.com/office/officeart/2005/8/layout/orgChart1"/>
    <dgm:cxn modelId="{8E38A305-97C9-43F7-A20C-A2B49B77F4B8}" type="presParOf" srcId="{CC93C20E-B992-4F18-99D2-1C9F6259D446}" destId="{9E9EAAB4-8E10-47DC-8B71-4F0663D72CFB}" srcOrd="2" destOrd="0" presId="urn:microsoft.com/office/officeart/2005/8/layout/orgChart1"/>
    <dgm:cxn modelId="{B973BCEF-9034-4F6D-B32C-431F9627701A}" type="presParOf" srcId="{E8688C26-87CA-4F9F-BDA0-90475145DDF1}" destId="{C93404DA-8EFD-41D0-8B67-C4BC95A44D08}" srcOrd="2" destOrd="0" presId="urn:microsoft.com/office/officeart/2005/8/layout/orgChart1"/>
    <dgm:cxn modelId="{7CB02050-F941-4B9D-8CD9-C0B55FB79027}" type="presParOf" srcId="{E8688C26-87CA-4F9F-BDA0-90475145DDF1}" destId="{00A82F3F-E335-4BFD-8794-92F4C49160F5}" srcOrd="3" destOrd="0" presId="urn:microsoft.com/office/officeart/2005/8/layout/orgChart1"/>
    <dgm:cxn modelId="{4B18DAF8-65E6-4ED9-88FD-ACF198CE87E2}" type="presParOf" srcId="{00A82F3F-E335-4BFD-8794-92F4C49160F5}" destId="{4AF168DA-0EC3-4354-BF83-625F89F6C045}" srcOrd="0" destOrd="0" presId="urn:microsoft.com/office/officeart/2005/8/layout/orgChart1"/>
    <dgm:cxn modelId="{17714986-9952-47F6-B9F3-62E949306969}" type="presParOf" srcId="{4AF168DA-0EC3-4354-BF83-625F89F6C045}" destId="{23E0E6CF-926D-46FC-BB8A-6E182F3B847E}" srcOrd="0" destOrd="0" presId="urn:microsoft.com/office/officeart/2005/8/layout/orgChart1"/>
    <dgm:cxn modelId="{F0103055-A262-400F-B804-77E42253957A}" type="presParOf" srcId="{4AF168DA-0EC3-4354-BF83-625F89F6C045}" destId="{451BCC7E-65A7-4543-A5E7-C1A5AF0B0C07}" srcOrd="1" destOrd="0" presId="urn:microsoft.com/office/officeart/2005/8/layout/orgChart1"/>
    <dgm:cxn modelId="{64DC9D4E-695B-4566-A859-3CC67022BD70}" type="presParOf" srcId="{00A82F3F-E335-4BFD-8794-92F4C49160F5}" destId="{92345390-3501-4A07-B474-3072CD1195C0}" srcOrd="1" destOrd="0" presId="urn:microsoft.com/office/officeart/2005/8/layout/orgChart1"/>
    <dgm:cxn modelId="{C06429F8-0C9D-49E4-817E-B81C0D5F4718}" type="presParOf" srcId="{00A82F3F-E335-4BFD-8794-92F4C49160F5}" destId="{C13738F3-E8C4-4958-B5B9-44E01C842A74}" srcOrd="2" destOrd="0" presId="urn:microsoft.com/office/officeart/2005/8/layout/orgChart1"/>
    <dgm:cxn modelId="{07518586-FB94-4BF6-A373-CE7B7CBDE2D6}" type="presParOf" srcId="{E8688C26-87CA-4F9F-BDA0-90475145DDF1}" destId="{1CC7895D-2E4C-4353-BA4A-90C0DBE0A932}" srcOrd="4" destOrd="0" presId="urn:microsoft.com/office/officeart/2005/8/layout/orgChart1"/>
    <dgm:cxn modelId="{C60CE425-AE14-48A8-BFE0-21F433B4CCFF}" type="presParOf" srcId="{E8688C26-87CA-4F9F-BDA0-90475145DDF1}" destId="{A2DC593B-B902-4200-9F45-7465B8B8FB21}" srcOrd="5" destOrd="0" presId="urn:microsoft.com/office/officeart/2005/8/layout/orgChart1"/>
    <dgm:cxn modelId="{37A3FDCE-4BCD-463A-89C3-FEB4AF2715A7}" type="presParOf" srcId="{A2DC593B-B902-4200-9F45-7465B8B8FB21}" destId="{01847287-0E06-4319-BC69-8C56BB1F2929}" srcOrd="0" destOrd="0" presId="urn:microsoft.com/office/officeart/2005/8/layout/orgChart1"/>
    <dgm:cxn modelId="{980F4834-2EA8-4890-B2B2-42DACB703964}" type="presParOf" srcId="{01847287-0E06-4319-BC69-8C56BB1F2929}" destId="{AC54FE31-3868-48DB-AFA0-E1CE3E66407D}" srcOrd="0" destOrd="0" presId="urn:microsoft.com/office/officeart/2005/8/layout/orgChart1"/>
    <dgm:cxn modelId="{182F250C-6DD2-430E-B6C1-5FD55BA8B0B5}" type="presParOf" srcId="{01847287-0E06-4319-BC69-8C56BB1F2929}" destId="{669D87A0-7ED9-45E6-8FD5-B15211604040}" srcOrd="1" destOrd="0" presId="urn:microsoft.com/office/officeart/2005/8/layout/orgChart1"/>
    <dgm:cxn modelId="{E5FD7C7E-88BB-4A50-88C1-0D2B7CB3CD34}" type="presParOf" srcId="{A2DC593B-B902-4200-9F45-7465B8B8FB21}" destId="{D6C08F73-1FB4-45E1-9B31-34E4C8D3FF9D}" srcOrd="1" destOrd="0" presId="urn:microsoft.com/office/officeart/2005/8/layout/orgChart1"/>
    <dgm:cxn modelId="{48149CA0-5E82-4213-80F0-FC3E4187F8CF}" type="presParOf" srcId="{D6C08F73-1FB4-45E1-9B31-34E4C8D3FF9D}" destId="{838EC7C8-418C-4037-9698-0492AB6ECC87}" srcOrd="0" destOrd="0" presId="urn:microsoft.com/office/officeart/2005/8/layout/orgChart1"/>
    <dgm:cxn modelId="{FD588BB3-3318-4BDC-B574-2F28F63C0476}" type="presParOf" srcId="{D6C08F73-1FB4-45E1-9B31-34E4C8D3FF9D}" destId="{181D00C0-04A5-4ED4-85BF-A8CF03A7C45B}" srcOrd="1" destOrd="0" presId="urn:microsoft.com/office/officeart/2005/8/layout/orgChart1"/>
    <dgm:cxn modelId="{FADB0BD8-1C5B-423B-9E8D-062E8ABB1FB5}" type="presParOf" srcId="{181D00C0-04A5-4ED4-85BF-A8CF03A7C45B}" destId="{0F18C5E7-E649-4B8F-95CC-68145D7F058B}" srcOrd="0" destOrd="0" presId="urn:microsoft.com/office/officeart/2005/8/layout/orgChart1"/>
    <dgm:cxn modelId="{0226D447-200B-4B19-89CB-40750CFA41D6}" type="presParOf" srcId="{0F18C5E7-E649-4B8F-95CC-68145D7F058B}" destId="{F777BD30-F0B3-416E-9A7D-A062C1500764}" srcOrd="0" destOrd="0" presId="urn:microsoft.com/office/officeart/2005/8/layout/orgChart1"/>
    <dgm:cxn modelId="{964045C7-77F7-4261-A5E6-35CEB7003B75}" type="presParOf" srcId="{0F18C5E7-E649-4B8F-95CC-68145D7F058B}" destId="{BA971025-4DA7-4E85-96CB-DCCC3AAE506C}" srcOrd="1" destOrd="0" presId="urn:microsoft.com/office/officeart/2005/8/layout/orgChart1"/>
    <dgm:cxn modelId="{4C6AA36F-536A-4A05-A621-D3E2FCFF50D4}" type="presParOf" srcId="{181D00C0-04A5-4ED4-85BF-A8CF03A7C45B}" destId="{ADDE8267-91D7-4129-9A06-FF72FCC6F8F0}" srcOrd="1" destOrd="0" presId="urn:microsoft.com/office/officeart/2005/8/layout/orgChart1"/>
    <dgm:cxn modelId="{581162E0-FCF1-450B-9BF2-CBE1E1782D62}" type="presParOf" srcId="{181D00C0-04A5-4ED4-85BF-A8CF03A7C45B}" destId="{8C1AB81B-FD9A-441D-983A-B115807256EF}" srcOrd="2" destOrd="0" presId="urn:microsoft.com/office/officeart/2005/8/layout/orgChart1"/>
    <dgm:cxn modelId="{248D401F-DF7D-48BA-8E4E-085A4F76CF51}" type="presParOf" srcId="{D6C08F73-1FB4-45E1-9B31-34E4C8D3FF9D}" destId="{2630FF56-D671-4771-B3CE-889DDB532198}" srcOrd="2" destOrd="0" presId="urn:microsoft.com/office/officeart/2005/8/layout/orgChart1"/>
    <dgm:cxn modelId="{91AB8BB5-63CF-441F-A5E3-B9CD4D60C9CB}" type="presParOf" srcId="{D6C08F73-1FB4-45E1-9B31-34E4C8D3FF9D}" destId="{444DADAD-6C5A-4853-BD7C-6D7C3023145B}" srcOrd="3" destOrd="0" presId="urn:microsoft.com/office/officeart/2005/8/layout/orgChart1"/>
    <dgm:cxn modelId="{E60F9C67-6CBB-4C05-BB4C-5FDC611435E9}" type="presParOf" srcId="{444DADAD-6C5A-4853-BD7C-6D7C3023145B}" destId="{3F2F3C1A-1CBC-4443-952F-E27460D82528}" srcOrd="0" destOrd="0" presId="urn:microsoft.com/office/officeart/2005/8/layout/orgChart1"/>
    <dgm:cxn modelId="{4E751BE2-D4CB-4AFC-BD75-DCE7379FDB5D}" type="presParOf" srcId="{3F2F3C1A-1CBC-4443-952F-E27460D82528}" destId="{C4708E09-D5FD-4633-9F3D-D0D5386E8BA4}" srcOrd="0" destOrd="0" presId="urn:microsoft.com/office/officeart/2005/8/layout/orgChart1"/>
    <dgm:cxn modelId="{E5693BEA-711D-4888-8DCB-23BDF5619E6D}" type="presParOf" srcId="{3F2F3C1A-1CBC-4443-952F-E27460D82528}" destId="{BCAFC24D-CF81-4704-A9FA-684136158B8A}" srcOrd="1" destOrd="0" presId="urn:microsoft.com/office/officeart/2005/8/layout/orgChart1"/>
    <dgm:cxn modelId="{38383109-8126-4E98-89D3-0CAAA9F8BECC}" type="presParOf" srcId="{444DADAD-6C5A-4853-BD7C-6D7C3023145B}" destId="{B1148FF2-E5DC-4196-ADCF-68B8F3525B38}" srcOrd="1" destOrd="0" presId="urn:microsoft.com/office/officeart/2005/8/layout/orgChart1"/>
    <dgm:cxn modelId="{A261568D-8838-4571-BE9C-FB569F264CB3}" type="presParOf" srcId="{444DADAD-6C5A-4853-BD7C-6D7C3023145B}" destId="{047BB73B-E776-4DA4-8F80-89E09724B92E}" srcOrd="2" destOrd="0" presId="urn:microsoft.com/office/officeart/2005/8/layout/orgChart1"/>
    <dgm:cxn modelId="{81C40D42-46F2-4931-BCA3-577B9756F40A}" type="presParOf" srcId="{D6C08F73-1FB4-45E1-9B31-34E4C8D3FF9D}" destId="{AB97D9C0-7BB6-42FC-890F-99FA981ADF34}" srcOrd="4" destOrd="0" presId="urn:microsoft.com/office/officeart/2005/8/layout/orgChart1"/>
    <dgm:cxn modelId="{E9FFC0D1-8AF7-4812-BB6D-0BF4E1BFDEF0}" type="presParOf" srcId="{D6C08F73-1FB4-45E1-9B31-34E4C8D3FF9D}" destId="{A3CF9DE1-1F9B-45AE-8AD5-0B5D543FA3FC}" srcOrd="5" destOrd="0" presId="urn:microsoft.com/office/officeart/2005/8/layout/orgChart1"/>
    <dgm:cxn modelId="{0AFB710D-10C1-4FC7-BE10-A2F9FB2CBB63}" type="presParOf" srcId="{A3CF9DE1-1F9B-45AE-8AD5-0B5D543FA3FC}" destId="{A44EDA40-028F-4B24-9E43-C6D2BE94EE8B}" srcOrd="0" destOrd="0" presId="urn:microsoft.com/office/officeart/2005/8/layout/orgChart1"/>
    <dgm:cxn modelId="{B7B828B5-836F-40AB-96DE-8361CE11ECA9}" type="presParOf" srcId="{A44EDA40-028F-4B24-9E43-C6D2BE94EE8B}" destId="{75004E6B-2D78-4296-A03A-9482A39A16DD}" srcOrd="0" destOrd="0" presId="urn:microsoft.com/office/officeart/2005/8/layout/orgChart1"/>
    <dgm:cxn modelId="{A339B31D-E539-4158-A09F-BE9722E7ED34}" type="presParOf" srcId="{A44EDA40-028F-4B24-9E43-C6D2BE94EE8B}" destId="{20596650-22B8-454A-B446-DD763782CE31}" srcOrd="1" destOrd="0" presId="urn:microsoft.com/office/officeart/2005/8/layout/orgChart1"/>
    <dgm:cxn modelId="{1FC7749D-95BE-41E5-8D2C-00BDC082B692}" type="presParOf" srcId="{A3CF9DE1-1F9B-45AE-8AD5-0B5D543FA3FC}" destId="{0355F508-1B85-4089-BD29-42BA227B9E22}" srcOrd="1" destOrd="0" presId="urn:microsoft.com/office/officeart/2005/8/layout/orgChart1"/>
    <dgm:cxn modelId="{7AFEB579-0274-4BAC-A353-088BA4FC67D7}" type="presParOf" srcId="{A3CF9DE1-1F9B-45AE-8AD5-0B5D543FA3FC}" destId="{AB8F5E85-DD38-4936-A4E8-24649517D88F}" srcOrd="2" destOrd="0" presId="urn:microsoft.com/office/officeart/2005/8/layout/orgChart1"/>
    <dgm:cxn modelId="{3FCB56A0-9733-4871-ADBB-46D8E4DC7532}" type="presParOf" srcId="{A2DC593B-B902-4200-9F45-7465B8B8FB21}" destId="{3A4DFC6B-AE61-475C-9550-C267A7579395}" srcOrd="2" destOrd="0" presId="urn:microsoft.com/office/officeart/2005/8/layout/orgChart1"/>
    <dgm:cxn modelId="{22023AB1-8D56-44C5-9222-BAD55A1E611E}" type="presParOf" srcId="{E8688C26-87CA-4F9F-BDA0-90475145DDF1}" destId="{F001EF35-8F0E-4508-AC1B-B6D32A5B79D8}" srcOrd="6" destOrd="0" presId="urn:microsoft.com/office/officeart/2005/8/layout/orgChart1"/>
    <dgm:cxn modelId="{DA1C72F8-25BD-49D5-82C5-3A366B4BC5F0}" type="presParOf" srcId="{E8688C26-87CA-4F9F-BDA0-90475145DDF1}" destId="{37A5EF12-362A-4DFE-B8F3-63B7868BDB5A}" srcOrd="7" destOrd="0" presId="urn:microsoft.com/office/officeart/2005/8/layout/orgChart1"/>
    <dgm:cxn modelId="{A82A0ABF-05E1-4904-95A4-E3A4A7D1EA6E}" type="presParOf" srcId="{37A5EF12-362A-4DFE-B8F3-63B7868BDB5A}" destId="{408493AD-CAFC-44B1-872C-49A0F8540261}" srcOrd="0" destOrd="0" presId="urn:microsoft.com/office/officeart/2005/8/layout/orgChart1"/>
    <dgm:cxn modelId="{8F4411B4-8D49-41C2-9C6E-A343BCE8F999}" type="presParOf" srcId="{408493AD-CAFC-44B1-872C-49A0F8540261}" destId="{7334989D-39FA-412A-A685-F9C8A3F319C0}" srcOrd="0" destOrd="0" presId="urn:microsoft.com/office/officeart/2005/8/layout/orgChart1"/>
    <dgm:cxn modelId="{A340D034-FBBF-4B18-B164-CCA7B013247C}" type="presParOf" srcId="{408493AD-CAFC-44B1-872C-49A0F8540261}" destId="{C78B818A-06A0-4ED9-B84C-12D00292997B}" srcOrd="1" destOrd="0" presId="urn:microsoft.com/office/officeart/2005/8/layout/orgChart1"/>
    <dgm:cxn modelId="{B177D368-6379-4272-8863-6D9DEFBB827E}" type="presParOf" srcId="{37A5EF12-362A-4DFE-B8F3-63B7868BDB5A}" destId="{36B71980-1522-4278-B207-D38AE645AB16}" srcOrd="1" destOrd="0" presId="urn:microsoft.com/office/officeart/2005/8/layout/orgChart1"/>
    <dgm:cxn modelId="{8930FD90-A056-47BA-B4EA-5F270D11E2EF}" type="presParOf" srcId="{36B71980-1522-4278-B207-D38AE645AB16}" destId="{26E51B24-AB5C-4898-9C72-ABD4D235D8CB}" srcOrd="0" destOrd="0" presId="urn:microsoft.com/office/officeart/2005/8/layout/orgChart1"/>
    <dgm:cxn modelId="{8D3EE550-44C8-4EC6-9D39-CE83906F1C3C}" type="presParOf" srcId="{36B71980-1522-4278-B207-D38AE645AB16}" destId="{1447E9D9-E856-4AFB-B610-ABC6D5942CA9}" srcOrd="1" destOrd="0" presId="urn:microsoft.com/office/officeart/2005/8/layout/orgChart1"/>
    <dgm:cxn modelId="{50D0B9F8-B963-44B6-9F21-0AC3518F5E2E}" type="presParOf" srcId="{1447E9D9-E856-4AFB-B610-ABC6D5942CA9}" destId="{1883F82A-3BF5-4CF3-B91A-25A8BC8586A0}" srcOrd="0" destOrd="0" presId="urn:microsoft.com/office/officeart/2005/8/layout/orgChart1"/>
    <dgm:cxn modelId="{A5E621D4-6354-4F79-8B4D-D9B9C98D6152}" type="presParOf" srcId="{1883F82A-3BF5-4CF3-B91A-25A8BC8586A0}" destId="{7A0BCE84-7939-4C80-83DB-CB411CFF0C78}" srcOrd="0" destOrd="0" presId="urn:microsoft.com/office/officeart/2005/8/layout/orgChart1"/>
    <dgm:cxn modelId="{CA08725A-6D44-482C-A1EC-0135B1FB1EE2}" type="presParOf" srcId="{1883F82A-3BF5-4CF3-B91A-25A8BC8586A0}" destId="{40FAB06F-36C1-44AE-B286-3D8BB813807B}" srcOrd="1" destOrd="0" presId="urn:microsoft.com/office/officeart/2005/8/layout/orgChart1"/>
    <dgm:cxn modelId="{8EEA4790-A8D5-42E1-AED6-D8850EF68886}" type="presParOf" srcId="{1447E9D9-E856-4AFB-B610-ABC6D5942CA9}" destId="{72BF55B0-A558-4CA9-A94F-9A1C8215F0D8}" srcOrd="1" destOrd="0" presId="urn:microsoft.com/office/officeart/2005/8/layout/orgChart1"/>
    <dgm:cxn modelId="{47D2CD82-9FAE-4B5B-8C31-7DC5D1DC8DF0}" type="presParOf" srcId="{1447E9D9-E856-4AFB-B610-ABC6D5942CA9}" destId="{DE3BC7B8-9C52-4FBE-BD0A-26200ABC2D25}" srcOrd="2" destOrd="0" presId="urn:microsoft.com/office/officeart/2005/8/layout/orgChart1"/>
    <dgm:cxn modelId="{631910FE-D107-45D1-A7DC-3C840E35A702}" type="presParOf" srcId="{36B71980-1522-4278-B207-D38AE645AB16}" destId="{83170381-464E-46F3-ADA4-7BFB731EEC04}" srcOrd="2" destOrd="0" presId="urn:microsoft.com/office/officeart/2005/8/layout/orgChart1"/>
    <dgm:cxn modelId="{68FFBC03-B806-4A5A-8E9C-ED252F5C08F1}" type="presParOf" srcId="{36B71980-1522-4278-B207-D38AE645AB16}" destId="{795AB253-E163-40AD-ABAE-A2016CF1C910}" srcOrd="3" destOrd="0" presId="urn:microsoft.com/office/officeart/2005/8/layout/orgChart1"/>
    <dgm:cxn modelId="{AD39EB46-4B30-4BE2-B6F2-804DBCC0BECC}" type="presParOf" srcId="{795AB253-E163-40AD-ABAE-A2016CF1C910}" destId="{D27B96AA-2C24-44A0-9055-7285CD7EF03A}" srcOrd="0" destOrd="0" presId="urn:microsoft.com/office/officeart/2005/8/layout/orgChart1"/>
    <dgm:cxn modelId="{6642F4A5-EC2D-4F0C-9F66-44F5B78FFC5F}" type="presParOf" srcId="{D27B96AA-2C24-44A0-9055-7285CD7EF03A}" destId="{35997AF1-4614-4857-8461-6C54BF806DA1}" srcOrd="0" destOrd="0" presId="urn:microsoft.com/office/officeart/2005/8/layout/orgChart1"/>
    <dgm:cxn modelId="{7EF5BF08-DE51-4608-9DF6-D064F46FDD76}" type="presParOf" srcId="{D27B96AA-2C24-44A0-9055-7285CD7EF03A}" destId="{A2366BA2-E265-41F9-9B7A-99299E0F87F5}" srcOrd="1" destOrd="0" presId="urn:microsoft.com/office/officeart/2005/8/layout/orgChart1"/>
    <dgm:cxn modelId="{D0977326-A479-443F-82B4-D4B621D3270F}" type="presParOf" srcId="{795AB253-E163-40AD-ABAE-A2016CF1C910}" destId="{2282D6A3-E3E7-48DD-96F3-9AF27B221475}" srcOrd="1" destOrd="0" presId="urn:microsoft.com/office/officeart/2005/8/layout/orgChart1"/>
    <dgm:cxn modelId="{E4E8F69D-A60D-4A2F-BEB6-77DC8EEA3158}" type="presParOf" srcId="{795AB253-E163-40AD-ABAE-A2016CF1C910}" destId="{8427D73D-CF3A-4D43-949F-0331234A2375}" srcOrd="2" destOrd="0" presId="urn:microsoft.com/office/officeart/2005/8/layout/orgChart1"/>
    <dgm:cxn modelId="{02A11905-E5AA-4931-92B2-32E72FB88AC5}" type="presParOf" srcId="{36B71980-1522-4278-B207-D38AE645AB16}" destId="{CEBA7FBF-E042-4187-B591-29A53848CC74}" srcOrd="4" destOrd="0" presId="urn:microsoft.com/office/officeart/2005/8/layout/orgChart1"/>
    <dgm:cxn modelId="{B407BA6E-809E-4406-B844-96CBACB72A94}" type="presParOf" srcId="{36B71980-1522-4278-B207-D38AE645AB16}" destId="{D494619D-E549-4A45-8A94-C41918DD745F}" srcOrd="5" destOrd="0" presId="urn:microsoft.com/office/officeart/2005/8/layout/orgChart1"/>
    <dgm:cxn modelId="{1700ABED-3215-4CCA-891C-FD10FA7C0EA1}" type="presParOf" srcId="{D494619D-E549-4A45-8A94-C41918DD745F}" destId="{82A56150-D633-43EA-ACFA-D000492D611A}" srcOrd="0" destOrd="0" presId="urn:microsoft.com/office/officeart/2005/8/layout/orgChart1"/>
    <dgm:cxn modelId="{974CB47C-1315-4DB0-A7E7-6170E1D94BB9}" type="presParOf" srcId="{82A56150-D633-43EA-ACFA-D000492D611A}" destId="{4624A1F4-557D-430D-8F0B-8A3CCAE1299C}" srcOrd="0" destOrd="0" presId="urn:microsoft.com/office/officeart/2005/8/layout/orgChart1"/>
    <dgm:cxn modelId="{A5439312-74A7-42B6-9A8C-82ABE176FC95}" type="presParOf" srcId="{82A56150-D633-43EA-ACFA-D000492D611A}" destId="{7F6B27AF-2468-445E-A942-A9BE91B319A9}" srcOrd="1" destOrd="0" presId="urn:microsoft.com/office/officeart/2005/8/layout/orgChart1"/>
    <dgm:cxn modelId="{0028C235-D9B5-4AB8-AAE0-A226054A237C}" type="presParOf" srcId="{D494619D-E549-4A45-8A94-C41918DD745F}" destId="{04FD7008-82F5-454C-88F7-B04C3282C145}" srcOrd="1" destOrd="0" presId="urn:microsoft.com/office/officeart/2005/8/layout/orgChart1"/>
    <dgm:cxn modelId="{02018950-2A77-4A88-B612-074125B6C936}" type="presParOf" srcId="{D494619D-E549-4A45-8A94-C41918DD745F}" destId="{F9D37B92-E449-49C8-AB13-FAE112B080C1}" srcOrd="2" destOrd="0" presId="urn:microsoft.com/office/officeart/2005/8/layout/orgChart1"/>
    <dgm:cxn modelId="{380AF15A-E6F7-42DD-A4EF-59767990FA61}" type="presParOf" srcId="{37A5EF12-362A-4DFE-B8F3-63B7868BDB5A}" destId="{5C4F2F87-AFA5-42B9-82D4-A869770F150F}" srcOrd="2" destOrd="0" presId="urn:microsoft.com/office/officeart/2005/8/layout/orgChart1"/>
    <dgm:cxn modelId="{0958A9BB-DDF7-4CA8-98E2-D69672A92059}" type="presParOf" srcId="{E8688C26-87CA-4F9F-BDA0-90475145DDF1}" destId="{006FB97D-722E-4231-94E4-2CBDE901DA69}" srcOrd="8" destOrd="0" presId="urn:microsoft.com/office/officeart/2005/8/layout/orgChart1"/>
    <dgm:cxn modelId="{D69816A8-9CE1-4560-9474-DDB0B69728FD}" type="presParOf" srcId="{E8688C26-87CA-4F9F-BDA0-90475145DDF1}" destId="{C3FC9704-BA90-4C38-ACD5-544C90FD9CBF}" srcOrd="9" destOrd="0" presId="urn:microsoft.com/office/officeart/2005/8/layout/orgChart1"/>
    <dgm:cxn modelId="{A318CDE5-E5E9-418E-B7D3-9AA584B0F20C}" type="presParOf" srcId="{C3FC9704-BA90-4C38-ACD5-544C90FD9CBF}" destId="{EDC1DFBD-470D-4E84-857B-4696FB4FE9F2}" srcOrd="0" destOrd="0" presId="urn:microsoft.com/office/officeart/2005/8/layout/orgChart1"/>
    <dgm:cxn modelId="{61DAAAC7-24D6-4294-8C32-617C6D516CF8}" type="presParOf" srcId="{EDC1DFBD-470D-4E84-857B-4696FB4FE9F2}" destId="{61E76ED2-C097-4B23-A65E-717E7085060A}" srcOrd="0" destOrd="0" presId="urn:microsoft.com/office/officeart/2005/8/layout/orgChart1"/>
    <dgm:cxn modelId="{57765D72-52BD-43CA-9284-107F1E5EBC4E}" type="presParOf" srcId="{EDC1DFBD-470D-4E84-857B-4696FB4FE9F2}" destId="{5FB89C6F-0FD3-4F6B-94B5-CEA4F84BD581}" srcOrd="1" destOrd="0" presId="urn:microsoft.com/office/officeart/2005/8/layout/orgChart1"/>
    <dgm:cxn modelId="{60B342F0-7F75-48CB-A2AD-0802894C5992}" type="presParOf" srcId="{C3FC9704-BA90-4C38-ACD5-544C90FD9CBF}" destId="{B1957A9E-43CB-4E3F-8BA8-B9955F614FA4}" srcOrd="1" destOrd="0" presId="urn:microsoft.com/office/officeart/2005/8/layout/orgChart1"/>
    <dgm:cxn modelId="{FDA17F53-E278-4948-B790-61BF129ECF25}" type="presParOf" srcId="{B1957A9E-43CB-4E3F-8BA8-B9955F614FA4}" destId="{2F0481E7-8123-4387-9735-5BB9C376775D}" srcOrd="0" destOrd="0" presId="urn:microsoft.com/office/officeart/2005/8/layout/orgChart1"/>
    <dgm:cxn modelId="{70923924-0AD8-4498-91D8-DAA75C2916E8}" type="presParOf" srcId="{B1957A9E-43CB-4E3F-8BA8-B9955F614FA4}" destId="{517FAB53-EBD3-4CAD-AE62-338909682335}" srcOrd="1" destOrd="0" presId="urn:microsoft.com/office/officeart/2005/8/layout/orgChart1"/>
    <dgm:cxn modelId="{EE938AAB-2332-4A9A-BB33-EC3BF32384C1}" type="presParOf" srcId="{517FAB53-EBD3-4CAD-AE62-338909682335}" destId="{3F6AA3A6-F227-42CE-9F4A-2F73EDB94916}" srcOrd="0" destOrd="0" presId="urn:microsoft.com/office/officeart/2005/8/layout/orgChart1"/>
    <dgm:cxn modelId="{A0C82DFC-98AD-441B-B444-B09307421C41}" type="presParOf" srcId="{3F6AA3A6-F227-42CE-9F4A-2F73EDB94916}" destId="{69CB3CD2-E008-4E71-8C8B-162FEE75F22C}" srcOrd="0" destOrd="0" presId="urn:microsoft.com/office/officeart/2005/8/layout/orgChart1"/>
    <dgm:cxn modelId="{461F1391-CACA-4018-92FE-AAA281871A71}" type="presParOf" srcId="{3F6AA3A6-F227-42CE-9F4A-2F73EDB94916}" destId="{E951A6F7-CE0E-4232-993A-BFF5C54E4C13}" srcOrd="1" destOrd="0" presId="urn:microsoft.com/office/officeart/2005/8/layout/orgChart1"/>
    <dgm:cxn modelId="{76F460A0-AF6A-4B47-8501-D05A89499A0A}" type="presParOf" srcId="{517FAB53-EBD3-4CAD-AE62-338909682335}" destId="{50C25C0C-0CB9-414D-9564-CD4DD962B6BF}" srcOrd="1" destOrd="0" presId="urn:microsoft.com/office/officeart/2005/8/layout/orgChart1"/>
    <dgm:cxn modelId="{1CC16CD6-7B13-493B-9304-314E2BD9C8BD}" type="presParOf" srcId="{517FAB53-EBD3-4CAD-AE62-338909682335}" destId="{09D4BF28-06C5-48EB-9234-F420D6B0D149}" srcOrd="2" destOrd="0" presId="urn:microsoft.com/office/officeart/2005/8/layout/orgChart1"/>
    <dgm:cxn modelId="{418F4BC2-97CA-41AD-B1F3-4FC3C2EF7276}" type="presParOf" srcId="{C3FC9704-BA90-4C38-ACD5-544C90FD9CBF}" destId="{6EC5BFBB-4BF4-49CC-B154-6728A59F8D18}" srcOrd="2" destOrd="0" presId="urn:microsoft.com/office/officeart/2005/8/layout/orgChart1"/>
    <dgm:cxn modelId="{4DB37956-A4CF-4286-8146-5812A960F040}" type="presParOf" srcId="{E8688C26-87CA-4F9F-BDA0-90475145DDF1}" destId="{EDB5424B-69F3-4EBC-AC96-4937839F5143}" srcOrd="10" destOrd="0" presId="urn:microsoft.com/office/officeart/2005/8/layout/orgChart1"/>
    <dgm:cxn modelId="{13F8C601-2329-4488-9010-EE8E3743DFC0}" type="presParOf" srcId="{E8688C26-87CA-4F9F-BDA0-90475145DDF1}" destId="{84BF1D76-8CE0-4CFA-85D8-71C6EA6A97D2}" srcOrd="11" destOrd="0" presId="urn:microsoft.com/office/officeart/2005/8/layout/orgChart1"/>
    <dgm:cxn modelId="{4F8C9A50-BECF-4159-8D1E-C1C850CC0201}" type="presParOf" srcId="{84BF1D76-8CE0-4CFA-85D8-71C6EA6A97D2}" destId="{1FC9A653-222E-40F0-991A-60BC9FD1FDEF}" srcOrd="0" destOrd="0" presId="urn:microsoft.com/office/officeart/2005/8/layout/orgChart1"/>
    <dgm:cxn modelId="{04483162-DDD4-4B33-A296-89B3B8612D5E}" type="presParOf" srcId="{1FC9A653-222E-40F0-991A-60BC9FD1FDEF}" destId="{62008004-9441-4030-8C35-1B9FD19E9CD2}" srcOrd="0" destOrd="0" presId="urn:microsoft.com/office/officeart/2005/8/layout/orgChart1"/>
    <dgm:cxn modelId="{551B6FC7-4336-45A8-AEB6-E28E246222E1}" type="presParOf" srcId="{1FC9A653-222E-40F0-991A-60BC9FD1FDEF}" destId="{E98A1221-9E02-4E53-9BD8-4B3601C7ABE5}" srcOrd="1" destOrd="0" presId="urn:microsoft.com/office/officeart/2005/8/layout/orgChart1"/>
    <dgm:cxn modelId="{2643F8BE-C6DA-41B0-9E14-EA67FEAE4F0F}" type="presParOf" srcId="{84BF1D76-8CE0-4CFA-85D8-71C6EA6A97D2}" destId="{72FDC06F-23A4-47F0-B47F-4A7F70896AD8}" srcOrd="1" destOrd="0" presId="urn:microsoft.com/office/officeart/2005/8/layout/orgChart1"/>
    <dgm:cxn modelId="{8F60A7D7-038D-428F-826E-1128A1DDB671}" type="presParOf" srcId="{72FDC06F-23A4-47F0-B47F-4A7F70896AD8}" destId="{D016E868-3AA4-42B3-BB7F-B7050A9C4C3C}" srcOrd="0" destOrd="0" presId="urn:microsoft.com/office/officeart/2005/8/layout/orgChart1"/>
    <dgm:cxn modelId="{B6D5EDB5-79AA-4875-9E68-1E88D542FD32}" type="presParOf" srcId="{72FDC06F-23A4-47F0-B47F-4A7F70896AD8}" destId="{D9E85926-F88B-4F39-893F-F259CBBF491A}" srcOrd="1" destOrd="0" presId="urn:microsoft.com/office/officeart/2005/8/layout/orgChart1"/>
    <dgm:cxn modelId="{375F8B70-A5B4-4999-8F9B-71EFF9B4F4DF}" type="presParOf" srcId="{D9E85926-F88B-4F39-893F-F259CBBF491A}" destId="{833C4303-3599-414B-A990-7815E99C7658}" srcOrd="0" destOrd="0" presId="urn:microsoft.com/office/officeart/2005/8/layout/orgChart1"/>
    <dgm:cxn modelId="{2BE7831F-DAC8-4A74-8240-E3028BC64B48}" type="presParOf" srcId="{833C4303-3599-414B-A990-7815E99C7658}" destId="{29F0B1B4-563D-4B1E-9EBD-17978F8461AD}" srcOrd="0" destOrd="0" presId="urn:microsoft.com/office/officeart/2005/8/layout/orgChart1"/>
    <dgm:cxn modelId="{6C6E6E70-5CDB-4D04-8BCC-736D49219EBF}" type="presParOf" srcId="{833C4303-3599-414B-A990-7815E99C7658}" destId="{0D1EDAC0-66F1-4693-9114-E62CFC251E1C}" srcOrd="1" destOrd="0" presId="urn:microsoft.com/office/officeart/2005/8/layout/orgChart1"/>
    <dgm:cxn modelId="{4F8E1100-F528-428A-878C-AC3CAAB16096}" type="presParOf" srcId="{D9E85926-F88B-4F39-893F-F259CBBF491A}" destId="{DC554788-5015-4835-A9A3-3B1E90C6C5F7}" srcOrd="1" destOrd="0" presId="urn:microsoft.com/office/officeart/2005/8/layout/orgChart1"/>
    <dgm:cxn modelId="{4F4B12A3-34D3-4FE9-AC72-4ACAC12918B4}" type="presParOf" srcId="{D9E85926-F88B-4F39-893F-F259CBBF491A}" destId="{49C1A884-02C5-4774-A90F-C36985D46F7B}" srcOrd="2" destOrd="0" presId="urn:microsoft.com/office/officeart/2005/8/layout/orgChart1"/>
    <dgm:cxn modelId="{F1CE058B-559D-4F8F-888F-EA74FB790EC8}" type="presParOf" srcId="{84BF1D76-8CE0-4CFA-85D8-71C6EA6A97D2}" destId="{03736C30-68F6-4477-ACEC-AE24AA155C20}" srcOrd="2" destOrd="0" presId="urn:microsoft.com/office/officeart/2005/8/layout/orgChart1"/>
    <dgm:cxn modelId="{98B67C54-13F2-4E29-AD93-E95D2CC944F1}" type="presParOf" srcId="{11608915-27DF-4DBA-A424-5CC0EF4B450E}" destId="{B017AFBA-AC69-4BEF-A9E4-32A23E06789B}"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5A133C8-75A1-4EA1-81CF-1430B8EC73B3}"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F5A082AA-39E2-4D41-9702-A852DDC8AD69}">
      <dgm:prSet/>
      <dgm:spPr/>
      <dgm:t>
        <a:bodyPr/>
        <a:lstStyle/>
        <a:p>
          <a:r>
            <a:rPr lang="en-US"/>
            <a:t>Study material</a:t>
          </a:r>
        </a:p>
      </dgm:t>
    </dgm:pt>
    <dgm:pt modelId="{B84C364D-4F43-4F34-A5E0-25CDEA2F1176}" type="parTrans" cxnId="{0950FACA-7F08-4BD8-9571-E837806952F9}">
      <dgm:prSet/>
      <dgm:spPr/>
      <dgm:t>
        <a:bodyPr/>
        <a:lstStyle/>
        <a:p>
          <a:endParaRPr lang="en-US"/>
        </a:p>
      </dgm:t>
    </dgm:pt>
    <dgm:pt modelId="{8515B4C5-854B-481F-8BBF-F6CC1F21E09E}" type="sibTrans" cxnId="{0950FACA-7F08-4BD8-9571-E837806952F9}">
      <dgm:prSet/>
      <dgm:spPr/>
      <dgm:t>
        <a:bodyPr/>
        <a:lstStyle/>
        <a:p>
          <a:endParaRPr lang="en-US"/>
        </a:p>
      </dgm:t>
    </dgm:pt>
    <dgm:pt modelId="{9416BF62-01D8-4D5E-A3B4-C3C26B3A5224}">
      <dgm:prSet/>
      <dgm:spPr/>
      <dgm:t>
        <a:bodyPr/>
        <a:lstStyle/>
        <a:p>
          <a:r>
            <a:rPr lang="en-US"/>
            <a:t>Object Model - </a:t>
          </a:r>
          <a:r>
            <a:rPr lang="en-US">
              <a:hlinkClick xmlns:r="http://schemas.openxmlformats.org/officeDocument/2006/relationships" r:id="rId1"/>
            </a:rPr>
            <a:t>https://www.tutorialspoint.com/object_oriented_analysis_design/ooad_object_oriented_model.htm</a:t>
          </a:r>
          <a:endParaRPr lang="en-US"/>
        </a:p>
      </dgm:t>
    </dgm:pt>
    <dgm:pt modelId="{BB3757E1-C722-432A-B366-138652310FC4}" type="parTrans" cxnId="{0831C45C-03F0-4CB5-8D33-65F471A778E6}">
      <dgm:prSet/>
      <dgm:spPr/>
      <dgm:t>
        <a:bodyPr/>
        <a:lstStyle/>
        <a:p>
          <a:endParaRPr lang="en-US"/>
        </a:p>
      </dgm:t>
    </dgm:pt>
    <dgm:pt modelId="{BCCF77DC-A316-45CF-9200-F61E89AA6921}" type="sibTrans" cxnId="{0831C45C-03F0-4CB5-8D33-65F471A778E6}">
      <dgm:prSet/>
      <dgm:spPr/>
      <dgm:t>
        <a:bodyPr/>
        <a:lstStyle/>
        <a:p>
          <a:endParaRPr lang="en-US"/>
        </a:p>
      </dgm:t>
    </dgm:pt>
    <dgm:pt modelId="{3CE87984-499C-41AD-848E-3131A5D86D50}">
      <dgm:prSet/>
      <dgm:spPr/>
      <dgm:t>
        <a:bodyPr/>
        <a:lstStyle/>
        <a:p>
          <a:r>
            <a:rPr lang="en-US"/>
            <a:t>UML Introduction - </a:t>
          </a:r>
          <a:r>
            <a:rPr lang="en-US">
              <a:hlinkClick xmlns:r="http://schemas.openxmlformats.org/officeDocument/2006/relationships" r:id="rId2"/>
            </a:rPr>
            <a:t>https://www.ibm.com/developerworks/rational/library/769.html</a:t>
          </a:r>
          <a:endParaRPr lang="en-US"/>
        </a:p>
      </dgm:t>
    </dgm:pt>
    <dgm:pt modelId="{C990D885-1D8F-4B70-A235-94BD12ED18D0}" type="parTrans" cxnId="{9F908BB0-8C6F-479E-AF6D-8FAF196FE079}">
      <dgm:prSet/>
      <dgm:spPr/>
      <dgm:t>
        <a:bodyPr/>
        <a:lstStyle/>
        <a:p>
          <a:endParaRPr lang="en-US"/>
        </a:p>
      </dgm:t>
    </dgm:pt>
    <dgm:pt modelId="{9CFB6565-EDB7-42A5-AD3E-C06FFBFB7B80}" type="sibTrans" cxnId="{9F908BB0-8C6F-479E-AF6D-8FAF196FE079}">
      <dgm:prSet/>
      <dgm:spPr/>
      <dgm:t>
        <a:bodyPr/>
        <a:lstStyle/>
        <a:p>
          <a:endParaRPr lang="en-US"/>
        </a:p>
      </dgm:t>
    </dgm:pt>
    <dgm:pt modelId="{B32B6005-2DC3-41B8-8BB4-C84D709E4193}">
      <dgm:prSet/>
      <dgm:spPr/>
      <dgm:t>
        <a:bodyPr/>
        <a:lstStyle/>
        <a:p>
          <a:r>
            <a:rPr lang="en-US"/>
            <a:t>Reference material</a:t>
          </a:r>
        </a:p>
      </dgm:t>
    </dgm:pt>
    <dgm:pt modelId="{EF65478D-4D23-49B3-B4B4-98CB1FF5E7E7}" type="parTrans" cxnId="{B75D8796-08D2-46E3-9158-DAE66BF9906E}">
      <dgm:prSet/>
      <dgm:spPr/>
      <dgm:t>
        <a:bodyPr/>
        <a:lstStyle/>
        <a:p>
          <a:endParaRPr lang="en-US"/>
        </a:p>
      </dgm:t>
    </dgm:pt>
    <dgm:pt modelId="{DE8B532C-C476-491B-9E84-A36B7968516C}" type="sibTrans" cxnId="{B75D8796-08D2-46E3-9158-DAE66BF9906E}">
      <dgm:prSet/>
      <dgm:spPr/>
      <dgm:t>
        <a:bodyPr/>
        <a:lstStyle/>
        <a:p>
          <a:endParaRPr lang="en-US"/>
        </a:p>
      </dgm:t>
    </dgm:pt>
    <dgm:pt modelId="{EF237E60-DC9E-43A3-9FE5-1CC78FFDA2B4}">
      <dgm:prSet/>
      <dgm:spPr/>
      <dgm:t>
        <a:bodyPr/>
        <a:lstStyle/>
        <a:p>
          <a:r>
            <a:rPr lang="en-US" dirty="0"/>
            <a:t>Object Oriented modeling - </a:t>
          </a:r>
          <a:r>
            <a:rPr lang="en-US" dirty="0" err="1">
              <a:hlinkClick xmlns:r="http://schemas.openxmlformats.org/officeDocument/2006/relationships" r:id="rId3"/>
            </a:rPr>
            <a:t>eGyanKosh</a:t>
          </a:r>
          <a:r>
            <a:rPr lang="en-US" dirty="0">
              <a:hlinkClick xmlns:r="http://schemas.openxmlformats.org/officeDocument/2006/relationships" r:id="rId3"/>
            </a:rPr>
            <a:t>: MCS-032 Object Oriented Analysis and Design</a:t>
          </a:r>
          <a:r>
            <a:rPr lang="en-US" dirty="0"/>
            <a:t> </a:t>
          </a:r>
        </a:p>
      </dgm:t>
    </dgm:pt>
    <dgm:pt modelId="{CB8C7228-2C39-4A63-A105-46C10C7D5379}" type="parTrans" cxnId="{F2D22A69-0822-4D9F-88C4-22144207DB43}">
      <dgm:prSet/>
      <dgm:spPr/>
      <dgm:t>
        <a:bodyPr/>
        <a:lstStyle/>
        <a:p>
          <a:endParaRPr lang="en-US"/>
        </a:p>
      </dgm:t>
    </dgm:pt>
    <dgm:pt modelId="{7224D528-B8BE-4E89-B4AE-50B37BFE1BB2}" type="sibTrans" cxnId="{F2D22A69-0822-4D9F-88C4-22144207DB43}">
      <dgm:prSet/>
      <dgm:spPr/>
      <dgm:t>
        <a:bodyPr/>
        <a:lstStyle/>
        <a:p>
          <a:endParaRPr lang="en-US"/>
        </a:p>
      </dgm:t>
    </dgm:pt>
    <dgm:pt modelId="{A6E8A745-29EA-4D83-A9C9-29E55CD652CA}" type="pres">
      <dgm:prSet presAssocID="{C5A133C8-75A1-4EA1-81CF-1430B8EC73B3}" presName="linear" presStyleCnt="0">
        <dgm:presLayoutVars>
          <dgm:animLvl val="lvl"/>
          <dgm:resizeHandles val="exact"/>
        </dgm:presLayoutVars>
      </dgm:prSet>
      <dgm:spPr/>
    </dgm:pt>
    <dgm:pt modelId="{FDDE7B90-97FB-4D33-B66E-A70CE96E9910}" type="pres">
      <dgm:prSet presAssocID="{F5A082AA-39E2-4D41-9702-A852DDC8AD69}" presName="parentText" presStyleLbl="node1" presStyleIdx="0" presStyleCnt="2">
        <dgm:presLayoutVars>
          <dgm:chMax val="0"/>
          <dgm:bulletEnabled val="1"/>
        </dgm:presLayoutVars>
      </dgm:prSet>
      <dgm:spPr/>
    </dgm:pt>
    <dgm:pt modelId="{1FA296BA-20E1-4F11-813A-9A9681B79A78}" type="pres">
      <dgm:prSet presAssocID="{F5A082AA-39E2-4D41-9702-A852DDC8AD69}" presName="childText" presStyleLbl="revTx" presStyleIdx="0" presStyleCnt="2">
        <dgm:presLayoutVars>
          <dgm:bulletEnabled val="1"/>
        </dgm:presLayoutVars>
      </dgm:prSet>
      <dgm:spPr/>
    </dgm:pt>
    <dgm:pt modelId="{F7073D54-54C3-40FF-8BC4-A1C1B6A92F45}" type="pres">
      <dgm:prSet presAssocID="{B32B6005-2DC3-41B8-8BB4-C84D709E4193}" presName="parentText" presStyleLbl="node1" presStyleIdx="1" presStyleCnt="2">
        <dgm:presLayoutVars>
          <dgm:chMax val="0"/>
          <dgm:bulletEnabled val="1"/>
        </dgm:presLayoutVars>
      </dgm:prSet>
      <dgm:spPr/>
    </dgm:pt>
    <dgm:pt modelId="{E6883C08-F49E-4242-AC93-30B3F1DDD67B}" type="pres">
      <dgm:prSet presAssocID="{B32B6005-2DC3-41B8-8BB4-C84D709E4193}" presName="childText" presStyleLbl="revTx" presStyleIdx="1" presStyleCnt="2">
        <dgm:presLayoutVars>
          <dgm:bulletEnabled val="1"/>
        </dgm:presLayoutVars>
      </dgm:prSet>
      <dgm:spPr/>
    </dgm:pt>
  </dgm:ptLst>
  <dgm:cxnLst>
    <dgm:cxn modelId="{0214F512-6E83-4FE7-BD8E-4D11AB59BD1A}" type="presOf" srcId="{EF237E60-DC9E-43A3-9FE5-1CC78FFDA2B4}" destId="{E6883C08-F49E-4242-AC93-30B3F1DDD67B}" srcOrd="0" destOrd="0" presId="urn:microsoft.com/office/officeart/2005/8/layout/vList2"/>
    <dgm:cxn modelId="{95AAA838-2EE8-400E-94D3-EAA7DC8579BF}" type="presOf" srcId="{3CE87984-499C-41AD-848E-3131A5D86D50}" destId="{1FA296BA-20E1-4F11-813A-9A9681B79A78}" srcOrd="0" destOrd="1" presId="urn:microsoft.com/office/officeart/2005/8/layout/vList2"/>
    <dgm:cxn modelId="{0831C45C-03F0-4CB5-8D33-65F471A778E6}" srcId="{F5A082AA-39E2-4D41-9702-A852DDC8AD69}" destId="{9416BF62-01D8-4D5E-A3B4-C3C26B3A5224}" srcOrd="0" destOrd="0" parTransId="{BB3757E1-C722-432A-B366-138652310FC4}" sibTransId="{BCCF77DC-A316-45CF-9200-F61E89AA6921}"/>
    <dgm:cxn modelId="{F2D22A69-0822-4D9F-88C4-22144207DB43}" srcId="{B32B6005-2DC3-41B8-8BB4-C84D709E4193}" destId="{EF237E60-DC9E-43A3-9FE5-1CC78FFDA2B4}" srcOrd="0" destOrd="0" parTransId="{CB8C7228-2C39-4A63-A105-46C10C7D5379}" sibTransId="{7224D528-B8BE-4E89-B4AE-50B37BFE1BB2}"/>
    <dgm:cxn modelId="{CCFD997D-0315-4540-9136-88CE8062CEAC}" type="presOf" srcId="{B32B6005-2DC3-41B8-8BB4-C84D709E4193}" destId="{F7073D54-54C3-40FF-8BC4-A1C1B6A92F45}" srcOrd="0" destOrd="0" presId="urn:microsoft.com/office/officeart/2005/8/layout/vList2"/>
    <dgm:cxn modelId="{B75D8796-08D2-46E3-9158-DAE66BF9906E}" srcId="{C5A133C8-75A1-4EA1-81CF-1430B8EC73B3}" destId="{B32B6005-2DC3-41B8-8BB4-C84D709E4193}" srcOrd="1" destOrd="0" parTransId="{EF65478D-4D23-49B3-B4B4-98CB1FF5E7E7}" sibTransId="{DE8B532C-C476-491B-9E84-A36B7968516C}"/>
    <dgm:cxn modelId="{C12A0CA7-7FE7-4509-B0D5-052978BBB4E1}" type="presOf" srcId="{9416BF62-01D8-4D5E-A3B4-C3C26B3A5224}" destId="{1FA296BA-20E1-4F11-813A-9A9681B79A78}" srcOrd="0" destOrd="0" presId="urn:microsoft.com/office/officeart/2005/8/layout/vList2"/>
    <dgm:cxn modelId="{F3E4BAAF-86E0-45AC-B310-C36AD0B5E79B}" type="presOf" srcId="{C5A133C8-75A1-4EA1-81CF-1430B8EC73B3}" destId="{A6E8A745-29EA-4D83-A9C9-29E55CD652CA}" srcOrd="0" destOrd="0" presId="urn:microsoft.com/office/officeart/2005/8/layout/vList2"/>
    <dgm:cxn modelId="{9F908BB0-8C6F-479E-AF6D-8FAF196FE079}" srcId="{F5A082AA-39E2-4D41-9702-A852DDC8AD69}" destId="{3CE87984-499C-41AD-848E-3131A5D86D50}" srcOrd="1" destOrd="0" parTransId="{C990D885-1D8F-4B70-A235-94BD12ED18D0}" sibTransId="{9CFB6565-EDB7-42A5-AD3E-C06FFBFB7B80}"/>
    <dgm:cxn modelId="{0950FACA-7F08-4BD8-9571-E837806952F9}" srcId="{C5A133C8-75A1-4EA1-81CF-1430B8EC73B3}" destId="{F5A082AA-39E2-4D41-9702-A852DDC8AD69}" srcOrd="0" destOrd="0" parTransId="{B84C364D-4F43-4F34-A5E0-25CDEA2F1176}" sibTransId="{8515B4C5-854B-481F-8BBF-F6CC1F21E09E}"/>
    <dgm:cxn modelId="{CFF95CEC-3878-4306-A3AA-E39EDE4D042B}" type="presOf" srcId="{F5A082AA-39E2-4D41-9702-A852DDC8AD69}" destId="{FDDE7B90-97FB-4D33-B66E-A70CE96E9910}" srcOrd="0" destOrd="0" presId="urn:microsoft.com/office/officeart/2005/8/layout/vList2"/>
    <dgm:cxn modelId="{F6F6AFEE-EC07-4FCE-893D-DCC66A43BCEF}" type="presParOf" srcId="{A6E8A745-29EA-4D83-A9C9-29E55CD652CA}" destId="{FDDE7B90-97FB-4D33-B66E-A70CE96E9910}" srcOrd="0" destOrd="0" presId="urn:microsoft.com/office/officeart/2005/8/layout/vList2"/>
    <dgm:cxn modelId="{ACE3C230-97FB-417E-A236-631FF053B08F}" type="presParOf" srcId="{A6E8A745-29EA-4D83-A9C9-29E55CD652CA}" destId="{1FA296BA-20E1-4F11-813A-9A9681B79A78}" srcOrd="1" destOrd="0" presId="urn:microsoft.com/office/officeart/2005/8/layout/vList2"/>
    <dgm:cxn modelId="{A9E05FC3-4312-4E98-807A-926BB561AC38}" type="presParOf" srcId="{A6E8A745-29EA-4D83-A9C9-29E55CD652CA}" destId="{F7073D54-54C3-40FF-8BC4-A1C1B6A92F45}" srcOrd="2" destOrd="0" presId="urn:microsoft.com/office/officeart/2005/8/layout/vList2"/>
    <dgm:cxn modelId="{1C9B7DF7-BD92-44DD-923D-9561DED7EAF7}" type="presParOf" srcId="{A6E8A745-29EA-4D83-A9C9-29E55CD652CA}" destId="{E6883C08-F49E-4242-AC93-30B3F1DDD67B}"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AC91FE1-0127-4FA0-BFE4-BC79C0A0535A}" type="doc">
      <dgm:prSet loTypeId="urn:microsoft.com/office/officeart/2005/8/layout/vList2" loCatId="list" qsTypeId="urn:microsoft.com/office/officeart/2005/8/quickstyle/simple1" qsCatId="simple" csTypeId="urn:microsoft.com/office/officeart/2005/8/colors/accent5_3" csCatId="accent5"/>
      <dgm:spPr/>
      <dgm:t>
        <a:bodyPr/>
        <a:lstStyle/>
        <a:p>
          <a:endParaRPr lang="en-US"/>
        </a:p>
      </dgm:t>
    </dgm:pt>
    <dgm:pt modelId="{64BFF3FD-8B47-4032-96B8-54098BC5B204}">
      <dgm:prSet/>
      <dgm:spPr/>
      <dgm:t>
        <a:bodyPr/>
        <a:lstStyle/>
        <a:p>
          <a:r>
            <a:rPr lang="en-US" dirty="0"/>
            <a:t>Identify and create the classification and the models involved in </a:t>
          </a:r>
        </a:p>
      </dgm:t>
    </dgm:pt>
    <dgm:pt modelId="{64A33257-B18B-461E-A9C2-773C035E5F02}" type="parTrans" cxnId="{5DEB5579-011E-4F8F-B1A6-5107D11777BC}">
      <dgm:prSet/>
      <dgm:spPr/>
      <dgm:t>
        <a:bodyPr/>
        <a:lstStyle/>
        <a:p>
          <a:endParaRPr lang="en-US"/>
        </a:p>
      </dgm:t>
    </dgm:pt>
    <dgm:pt modelId="{32F677E5-DD37-4894-A1C0-94C484ABEEC7}" type="sibTrans" cxnId="{5DEB5579-011E-4F8F-B1A6-5107D11777BC}">
      <dgm:prSet/>
      <dgm:spPr/>
      <dgm:t>
        <a:bodyPr/>
        <a:lstStyle/>
        <a:p>
          <a:endParaRPr lang="en-US"/>
        </a:p>
      </dgm:t>
    </dgm:pt>
    <dgm:pt modelId="{199C3076-CA63-4558-AC77-26989E81A76B}">
      <dgm:prSet/>
      <dgm:spPr/>
      <dgm:t>
        <a:bodyPr/>
        <a:lstStyle/>
        <a:p>
          <a:r>
            <a:rPr lang="en-US" dirty="0"/>
            <a:t>Land scape</a:t>
          </a:r>
        </a:p>
      </dgm:t>
    </dgm:pt>
    <dgm:pt modelId="{609B0352-AE10-4F04-848E-C36509C37E9A}" type="parTrans" cxnId="{8A7550AC-DDDC-40F2-9647-4CACC7DCE52A}">
      <dgm:prSet/>
      <dgm:spPr/>
      <dgm:t>
        <a:bodyPr/>
        <a:lstStyle/>
        <a:p>
          <a:endParaRPr lang="en-US"/>
        </a:p>
      </dgm:t>
    </dgm:pt>
    <dgm:pt modelId="{D3E87114-6B48-4ED2-A589-73F26CCB2786}" type="sibTrans" cxnId="{8A7550AC-DDDC-40F2-9647-4CACC7DCE52A}">
      <dgm:prSet/>
      <dgm:spPr/>
      <dgm:t>
        <a:bodyPr/>
        <a:lstStyle/>
        <a:p>
          <a:endParaRPr lang="en-US"/>
        </a:p>
      </dgm:t>
    </dgm:pt>
    <dgm:pt modelId="{A7A38EC7-5662-4AB1-8345-450071DD9351}">
      <dgm:prSet/>
      <dgm:spPr/>
      <dgm:t>
        <a:bodyPr/>
        <a:lstStyle/>
        <a:p>
          <a:r>
            <a:rPr lang="en-US" dirty="0"/>
            <a:t>Payroll System</a:t>
          </a:r>
        </a:p>
      </dgm:t>
    </dgm:pt>
    <dgm:pt modelId="{C36184D0-2C45-4859-849E-F7C4D75622F6}" type="parTrans" cxnId="{44B68E7A-3772-4CA2-A9C7-776FFF1DBF2D}">
      <dgm:prSet/>
      <dgm:spPr/>
      <dgm:t>
        <a:bodyPr/>
        <a:lstStyle/>
        <a:p>
          <a:endParaRPr lang="en-US"/>
        </a:p>
      </dgm:t>
    </dgm:pt>
    <dgm:pt modelId="{B9892969-8309-499F-887D-D605F568AEC3}" type="sibTrans" cxnId="{44B68E7A-3772-4CA2-A9C7-776FFF1DBF2D}">
      <dgm:prSet/>
      <dgm:spPr/>
      <dgm:t>
        <a:bodyPr/>
        <a:lstStyle/>
        <a:p>
          <a:endParaRPr lang="en-US"/>
        </a:p>
      </dgm:t>
    </dgm:pt>
    <dgm:pt modelId="{D7A8B22E-CBC2-4739-ACF9-D5A027003D7D}">
      <dgm:prSet/>
      <dgm:spPr/>
      <dgm:t>
        <a:bodyPr/>
        <a:lstStyle/>
        <a:p>
          <a:r>
            <a:rPr lang="en-US" dirty="0"/>
            <a:t>A Training Program</a:t>
          </a:r>
        </a:p>
      </dgm:t>
    </dgm:pt>
    <dgm:pt modelId="{2DE3F1DD-5D3F-45AA-8598-E689A9C1D477}" type="parTrans" cxnId="{120CE870-07D3-4284-A298-F7BEFC7A50A2}">
      <dgm:prSet/>
      <dgm:spPr/>
      <dgm:t>
        <a:bodyPr/>
        <a:lstStyle/>
        <a:p>
          <a:endParaRPr lang="en-US"/>
        </a:p>
      </dgm:t>
    </dgm:pt>
    <dgm:pt modelId="{0FB3A451-5C97-4676-8A11-2E611809C8AB}" type="sibTrans" cxnId="{120CE870-07D3-4284-A298-F7BEFC7A50A2}">
      <dgm:prSet/>
      <dgm:spPr/>
      <dgm:t>
        <a:bodyPr/>
        <a:lstStyle/>
        <a:p>
          <a:endParaRPr lang="en-US"/>
        </a:p>
      </dgm:t>
    </dgm:pt>
    <dgm:pt modelId="{E4D2DC89-BDD5-4CFF-8AB2-0DC9B00DC8D9}">
      <dgm:prSet/>
      <dgm:spPr/>
      <dgm:t>
        <a:bodyPr/>
        <a:lstStyle/>
        <a:p>
          <a:r>
            <a:rPr lang="en-US" dirty="0"/>
            <a:t>What aspects of a television set would be important to abstract from the perspective of</a:t>
          </a:r>
        </a:p>
      </dgm:t>
    </dgm:pt>
    <dgm:pt modelId="{B41CAAF7-470A-45E3-930C-8C6DE9010746}" type="parTrans" cxnId="{A4968999-6125-47A7-A5C4-1C0EE5D923E4}">
      <dgm:prSet/>
      <dgm:spPr/>
      <dgm:t>
        <a:bodyPr/>
        <a:lstStyle/>
        <a:p>
          <a:endParaRPr lang="en-US"/>
        </a:p>
      </dgm:t>
    </dgm:pt>
    <dgm:pt modelId="{AEB538A4-A815-44C0-83C4-1A45E9CBC61B}" type="sibTrans" cxnId="{A4968999-6125-47A7-A5C4-1C0EE5D923E4}">
      <dgm:prSet/>
      <dgm:spPr/>
      <dgm:t>
        <a:bodyPr/>
        <a:lstStyle/>
        <a:p>
          <a:endParaRPr lang="en-US"/>
        </a:p>
      </dgm:t>
    </dgm:pt>
    <dgm:pt modelId="{069AE4E9-60E9-445E-A212-4B5F05DAA425}">
      <dgm:prSet/>
      <dgm:spPr/>
      <dgm:t>
        <a:bodyPr/>
        <a:lstStyle/>
        <a:p>
          <a:r>
            <a:rPr lang="en-US" dirty="0"/>
            <a:t>A consumer wishing to buy one?</a:t>
          </a:r>
        </a:p>
      </dgm:t>
    </dgm:pt>
    <dgm:pt modelId="{0A43BED6-752C-4B71-A0B4-5D0A2ABE66A1}" type="parTrans" cxnId="{18B9307F-2E17-4721-A615-CAD5D8D40039}">
      <dgm:prSet/>
      <dgm:spPr/>
      <dgm:t>
        <a:bodyPr/>
        <a:lstStyle/>
        <a:p>
          <a:endParaRPr lang="en-US"/>
        </a:p>
      </dgm:t>
    </dgm:pt>
    <dgm:pt modelId="{B53F2E14-45E7-4B19-8176-D5F8F3BFCFF5}" type="sibTrans" cxnId="{18B9307F-2E17-4721-A615-CAD5D8D40039}">
      <dgm:prSet/>
      <dgm:spPr/>
      <dgm:t>
        <a:bodyPr/>
        <a:lstStyle/>
        <a:p>
          <a:endParaRPr lang="en-US"/>
        </a:p>
      </dgm:t>
    </dgm:pt>
    <dgm:pt modelId="{A97EDB9B-1812-4171-AD37-AA275DB21598}">
      <dgm:prSet/>
      <dgm:spPr/>
      <dgm:t>
        <a:bodyPr/>
        <a:lstStyle/>
        <a:p>
          <a:r>
            <a:rPr lang="en-US" dirty="0"/>
            <a:t>An engineer responsible for designing one?</a:t>
          </a:r>
        </a:p>
      </dgm:t>
    </dgm:pt>
    <dgm:pt modelId="{F79EB7D7-4F35-4D14-BC35-0961F522D658}" type="parTrans" cxnId="{E92A52D9-D7BF-46EB-8DEF-11A9964FFBFF}">
      <dgm:prSet/>
      <dgm:spPr/>
      <dgm:t>
        <a:bodyPr/>
        <a:lstStyle/>
        <a:p>
          <a:endParaRPr lang="en-US"/>
        </a:p>
      </dgm:t>
    </dgm:pt>
    <dgm:pt modelId="{AE6AC99D-15EE-4919-9433-7D803ABAB822}" type="sibTrans" cxnId="{E92A52D9-D7BF-46EB-8DEF-11A9964FFBFF}">
      <dgm:prSet/>
      <dgm:spPr/>
      <dgm:t>
        <a:bodyPr/>
        <a:lstStyle/>
        <a:p>
          <a:endParaRPr lang="en-US"/>
        </a:p>
      </dgm:t>
    </dgm:pt>
    <dgm:pt modelId="{32C953D1-3D47-48C1-919E-493A6A164735}">
      <dgm:prSet/>
      <dgm:spPr/>
      <dgm:t>
        <a:bodyPr/>
        <a:lstStyle/>
        <a:p>
          <a:r>
            <a:rPr lang="en-US" dirty="0"/>
            <a:t>A retailer who sells them?</a:t>
          </a:r>
        </a:p>
      </dgm:t>
    </dgm:pt>
    <dgm:pt modelId="{C9E08ACB-7841-4195-B013-C3E4FEAB1EA3}" type="parTrans" cxnId="{F7D5C22B-EC19-4F4D-8401-AD5CEC66C32B}">
      <dgm:prSet/>
      <dgm:spPr/>
      <dgm:t>
        <a:bodyPr/>
        <a:lstStyle/>
        <a:p>
          <a:endParaRPr lang="en-US"/>
        </a:p>
      </dgm:t>
    </dgm:pt>
    <dgm:pt modelId="{8C84F4D2-E221-4995-8339-4943A94D9C35}" type="sibTrans" cxnId="{F7D5C22B-EC19-4F4D-8401-AD5CEC66C32B}">
      <dgm:prSet/>
      <dgm:spPr/>
      <dgm:t>
        <a:bodyPr/>
        <a:lstStyle/>
        <a:p>
          <a:endParaRPr lang="en-US"/>
        </a:p>
      </dgm:t>
    </dgm:pt>
    <dgm:pt modelId="{366F313C-CDAE-4FBD-96D8-79610D6788DA}">
      <dgm:prSet/>
      <dgm:spPr/>
      <dgm:t>
        <a:bodyPr/>
        <a:lstStyle/>
        <a:p>
          <a:r>
            <a:rPr lang="en-US" dirty="0"/>
            <a:t>The manufacturer?</a:t>
          </a:r>
        </a:p>
      </dgm:t>
    </dgm:pt>
    <dgm:pt modelId="{57339336-2FE4-4F59-B221-AED3A43EC541}" type="parTrans" cxnId="{775062CC-4530-47E3-BDEC-078C1EE2D397}">
      <dgm:prSet/>
      <dgm:spPr/>
      <dgm:t>
        <a:bodyPr/>
        <a:lstStyle/>
        <a:p>
          <a:endParaRPr lang="en-US"/>
        </a:p>
      </dgm:t>
    </dgm:pt>
    <dgm:pt modelId="{AD157061-E32F-4658-99F2-AF5E00750441}" type="sibTrans" cxnId="{775062CC-4530-47E3-BDEC-078C1EE2D397}">
      <dgm:prSet/>
      <dgm:spPr/>
      <dgm:t>
        <a:bodyPr/>
        <a:lstStyle/>
        <a:p>
          <a:endParaRPr lang="en-US"/>
        </a:p>
      </dgm:t>
    </dgm:pt>
    <dgm:pt modelId="{6AE6A2D3-EB4D-4208-A33A-002D5EDDA8D9}">
      <dgm:prSet/>
      <dgm:spPr/>
      <dgm:t>
        <a:bodyPr/>
        <a:lstStyle/>
        <a:p>
          <a:r>
            <a:rPr lang="en-US" dirty="0"/>
            <a:t>Sketch a class hierarchy that relates all of the following classes in a reasonable manner:</a:t>
          </a:r>
        </a:p>
      </dgm:t>
    </dgm:pt>
    <dgm:pt modelId="{FA53B1C2-10B4-439A-976E-CA191D270D96}" type="parTrans" cxnId="{58659FC4-519A-41CD-B03B-A743080ED563}">
      <dgm:prSet/>
      <dgm:spPr/>
      <dgm:t>
        <a:bodyPr/>
        <a:lstStyle/>
        <a:p>
          <a:endParaRPr lang="en-US"/>
        </a:p>
      </dgm:t>
    </dgm:pt>
    <dgm:pt modelId="{F733AA01-EC75-49C6-AA11-7216758A765D}" type="sibTrans" cxnId="{58659FC4-519A-41CD-B03B-A743080ED563}">
      <dgm:prSet/>
      <dgm:spPr/>
      <dgm:t>
        <a:bodyPr/>
        <a:lstStyle/>
        <a:p>
          <a:endParaRPr lang="en-US"/>
        </a:p>
      </dgm:t>
    </dgm:pt>
    <dgm:pt modelId="{437B8CC6-B0A4-4F91-96FD-8583E3384482}">
      <dgm:prSet/>
      <dgm:spPr/>
      <dgm:t>
        <a:bodyPr/>
        <a:lstStyle/>
        <a:p>
          <a:r>
            <a:rPr lang="en-US" dirty="0"/>
            <a:t>Apple, Banana, Beef, Beverage, Cheese, Dairy Product, Food, Fruit, Green Bean, Meat, Milk, Pork, Spinach, Vegetable</a:t>
          </a:r>
        </a:p>
      </dgm:t>
    </dgm:pt>
    <dgm:pt modelId="{42984523-B092-45F4-A587-C6FB7EE63BCC}" type="parTrans" cxnId="{983CACF8-24B9-42BC-BA9E-75DD243CF4DF}">
      <dgm:prSet/>
      <dgm:spPr/>
      <dgm:t>
        <a:bodyPr/>
        <a:lstStyle/>
        <a:p>
          <a:endParaRPr lang="en-US"/>
        </a:p>
      </dgm:t>
    </dgm:pt>
    <dgm:pt modelId="{D14E35FE-4EA9-4922-9B09-E2CED3ADBF9E}" type="sibTrans" cxnId="{983CACF8-24B9-42BC-BA9E-75DD243CF4DF}">
      <dgm:prSet/>
      <dgm:spPr/>
      <dgm:t>
        <a:bodyPr/>
        <a:lstStyle/>
        <a:p>
          <a:endParaRPr lang="en-US"/>
        </a:p>
      </dgm:t>
    </dgm:pt>
    <dgm:pt modelId="{67E44975-9596-4576-9DE1-AEC2BBCF7462}">
      <dgm:prSet/>
      <dgm:spPr/>
      <dgm:t>
        <a:bodyPr/>
        <a:lstStyle/>
        <a:p>
          <a:r>
            <a:rPr lang="en-US"/>
            <a:t>Justify your answer, noting in particular any challenges that you faced in doing so.</a:t>
          </a:r>
        </a:p>
      </dgm:t>
    </dgm:pt>
    <dgm:pt modelId="{84E5A7C3-C589-457B-9D2F-665E0623C52F}" type="parTrans" cxnId="{3AAFF0B7-024E-492B-9941-C55B3FEDB75F}">
      <dgm:prSet/>
      <dgm:spPr/>
      <dgm:t>
        <a:bodyPr/>
        <a:lstStyle/>
        <a:p>
          <a:endParaRPr lang="en-US"/>
        </a:p>
      </dgm:t>
    </dgm:pt>
    <dgm:pt modelId="{286C7153-793D-4812-BEF9-3168FD52329B}" type="sibTrans" cxnId="{3AAFF0B7-024E-492B-9941-C55B3FEDB75F}">
      <dgm:prSet/>
      <dgm:spPr/>
      <dgm:t>
        <a:bodyPr/>
        <a:lstStyle/>
        <a:p>
          <a:endParaRPr lang="en-US"/>
        </a:p>
      </dgm:t>
    </dgm:pt>
    <dgm:pt modelId="{57A6D67C-E0A4-4622-848D-8ED45ABB661C}" type="pres">
      <dgm:prSet presAssocID="{9AC91FE1-0127-4FA0-BFE4-BC79C0A0535A}" presName="linear" presStyleCnt="0">
        <dgm:presLayoutVars>
          <dgm:animLvl val="lvl"/>
          <dgm:resizeHandles val="exact"/>
        </dgm:presLayoutVars>
      </dgm:prSet>
      <dgm:spPr/>
    </dgm:pt>
    <dgm:pt modelId="{23FE6862-2C2E-4768-B97F-FE07A0055907}" type="pres">
      <dgm:prSet presAssocID="{64BFF3FD-8B47-4032-96B8-54098BC5B204}" presName="parentText" presStyleLbl="node1" presStyleIdx="0" presStyleCnt="4">
        <dgm:presLayoutVars>
          <dgm:chMax val="0"/>
          <dgm:bulletEnabled val="1"/>
        </dgm:presLayoutVars>
      </dgm:prSet>
      <dgm:spPr/>
    </dgm:pt>
    <dgm:pt modelId="{F72A0DEE-E24D-4CF4-8190-AA59D264CE4A}" type="pres">
      <dgm:prSet presAssocID="{64BFF3FD-8B47-4032-96B8-54098BC5B204}" presName="childText" presStyleLbl="revTx" presStyleIdx="0" presStyleCnt="3">
        <dgm:presLayoutVars>
          <dgm:bulletEnabled val="1"/>
        </dgm:presLayoutVars>
      </dgm:prSet>
      <dgm:spPr/>
    </dgm:pt>
    <dgm:pt modelId="{543D6A95-9340-4F48-A152-46905A1FCFA4}" type="pres">
      <dgm:prSet presAssocID="{E4D2DC89-BDD5-4CFF-8AB2-0DC9B00DC8D9}" presName="parentText" presStyleLbl="node1" presStyleIdx="1" presStyleCnt="4">
        <dgm:presLayoutVars>
          <dgm:chMax val="0"/>
          <dgm:bulletEnabled val="1"/>
        </dgm:presLayoutVars>
      </dgm:prSet>
      <dgm:spPr/>
    </dgm:pt>
    <dgm:pt modelId="{257D5C56-26E4-4280-9D6B-F07CF3507111}" type="pres">
      <dgm:prSet presAssocID="{E4D2DC89-BDD5-4CFF-8AB2-0DC9B00DC8D9}" presName="childText" presStyleLbl="revTx" presStyleIdx="1" presStyleCnt="3">
        <dgm:presLayoutVars>
          <dgm:bulletEnabled val="1"/>
        </dgm:presLayoutVars>
      </dgm:prSet>
      <dgm:spPr/>
    </dgm:pt>
    <dgm:pt modelId="{0109B17C-7AAE-40AA-801C-A525E8C5E591}" type="pres">
      <dgm:prSet presAssocID="{6AE6A2D3-EB4D-4208-A33A-002D5EDDA8D9}" presName="parentText" presStyleLbl="node1" presStyleIdx="2" presStyleCnt="4">
        <dgm:presLayoutVars>
          <dgm:chMax val="0"/>
          <dgm:bulletEnabled val="1"/>
        </dgm:presLayoutVars>
      </dgm:prSet>
      <dgm:spPr/>
    </dgm:pt>
    <dgm:pt modelId="{2F141D62-75C8-4FFF-A1CE-43D14E353F07}" type="pres">
      <dgm:prSet presAssocID="{6AE6A2D3-EB4D-4208-A33A-002D5EDDA8D9}" presName="childText" presStyleLbl="revTx" presStyleIdx="2" presStyleCnt="3">
        <dgm:presLayoutVars>
          <dgm:bulletEnabled val="1"/>
        </dgm:presLayoutVars>
      </dgm:prSet>
      <dgm:spPr/>
    </dgm:pt>
    <dgm:pt modelId="{3095F33F-17C0-4781-842D-F323BBB7457E}" type="pres">
      <dgm:prSet presAssocID="{67E44975-9596-4576-9DE1-AEC2BBCF7462}" presName="parentText" presStyleLbl="node1" presStyleIdx="3" presStyleCnt="4">
        <dgm:presLayoutVars>
          <dgm:chMax val="0"/>
          <dgm:bulletEnabled val="1"/>
        </dgm:presLayoutVars>
      </dgm:prSet>
      <dgm:spPr/>
    </dgm:pt>
  </dgm:ptLst>
  <dgm:cxnLst>
    <dgm:cxn modelId="{C4587418-9C88-4FD7-85A7-944CACE22B2F}" type="presOf" srcId="{069AE4E9-60E9-445E-A212-4B5F05DAA425}" destId="{257D5C56-26E4-4280-9D6B-F07CF3507111}" srcOrd="0" destOrd="0" presId="urn:microsoft.com/office/officeart/2005/8/layout/vList2"/>
    <dgm:cxn modelId="{8C5FDA19-D2A9-4BD1-8E6A-A8ED2E3A6061}" type="presOf" srcId="{A7A38EC7-5662-4AB1-8345-450071DD9351}" destId="{F72A0DEE-E24D-4CF4-8190-AA59D264CE4A}" srcOrd="0" destOrd="1" presId="urn:microsoft.com/office/officeart/2005/8/layout/vList2"/>
    <dgm:cxn modelId="{B04C701D-6BE1-4A68-9C76-3B048D942D34}" type="presOf" srcId="{199C3076-CA63-4558-AC77-26989E81A76B}" destId="{F72A0DEE-E24D-4CF4-8190-AA59D264CE4A}" srcOrd="0" destOrd="0" presId="urn:microsoft.com/office/officeart/2005/8/layout/vList2"/>
    <dgm:cxn modelId="{4BDBC31D-B27F-44D2-853A-8A5220EDAD10}" type="presOf" srcId="{437B8CC6-B0A4-4F91-96FD-8583E3384482}" destId="{2F141D62-75C8-4FFF-A1CE-43D14E353F07}" srcOrd="0" destOrd="0" presId="urn:microsoft.com/office/officeart/2005/8/layout/vList2"/>
    <dgm:cxn modelId="{0720C926-274F-4934-8D6E-98F32FA95456}" type="presOf" srcId="{64BFF3FD-8B47-4032-96B8-54098BC5B204}" destId="{23FE6862-2C2E-4768-B97F-FE07A0055907}" srcOrd="0" destOrd="0" presId="urn:microsoft.com/office/officeart/2005/8/layout/vList2"/>
    <dgm:cxn modelId="{F7D5C22B-EC19-4F4D-8401-AD5CEC66C32B}" srcId="{E4D2DC89-BDD5-4CFF-8AB2-0DC9B00DC8D9}" destId="{32C953D1-3D47-48C1-919E-493A6A164735}" srcOrd="2" destOrd="0" parTransId="{C9E08ACB-7841-4195-B013-C3E4FEAB1EA3}" sibTransId="{8C84F4D2-E221-4995-8339-4943A94D9C35}"/>
    <dgm:cxn modelId="{0799EB44-AE97-4CCB-934D-17328289A73A}" type="presOf" srcId="{D7A8B22E-CBC2-4739-ACF9-D5A027003D7D}" destId="{F72A0DEE-E24D-4CF4-8190-AA59D264CE4A}" srcOrd="0" destOrd="2" presId="urn:microsoft.com/office/officeart/2005/8/layout/vList2"/>
    <dgm:cxn modelId="{C76E0D4E-B44A-4326-B90D-59620136E380}" type="presOf" srcId="{32C953D1-3D47-48C1-919E-493A6A164735}" destId="{257D5C56-26E4-4280-9D6B-F07CF3507111}" srcOrd="0" destOrd="2" presId="urn:microsoft.com/office/officeart/2005/8/layout/vList2"/>
    <dgm:cxn modelId="{120CE870-07D3-4284-A298-F7BEFC7A50A2}" srcId="{64BFF3FD-8B47-4032-96B8-54098BC5B204}" destId="{D7A8B22E-CBC2-4739-ACF9-D5A027003D7D}" srcOrd="2" destOrd="0" parTransId="{2DE3F1DD-5D3F-45AA-8598-E689A9C1D477}" sibTransId="{0FB3A451-5C97-4676-8A11-2E611809C8AB}"/>
    <dgm:cxn modelId="{D7098A75-E408-4F66-97F0-5CE05A62ACF5}" type="presOf" srcId="{6AE6A2D3-EB4D-4208-A33A-002D5EDDA8D9}" destId="{0109B17C-7AAE-40AA-801C-A525E8C5E591}" srcOrd="0" destOrd="0" presId="urn:microsoft.com/office/officeart/2005/8/layout/vList2"/>
    <dgm:cxn modelId="{B8F4F957-0E3D-477C-BCDD-2E5775CA0A37}" type="presOf" srcId="{E4D2DC89-BDD5-4CFF-8AB2-0DC9B00DC8D9}" destId="{543D6A95-9340-4F48-A152-46905A1FCFA4}" srcOrd="0" destOrd="0" presId="urn:microsoft.com/office/officeart/2005/8/layout/vList2"/>
    <dgm:cxn modelId="{5DEB5579-011E-4F8F-B1A6-5107D11777BC}" srcId="{9AC91FE1-0127-4FA0-BFE4-BC79C0A0535A}" destId="{64BFF3FD-8B47-4032-96B8-54098BC5B204}" srcOrd="0" destOrd="0" parTransId="{64A33257-B18B-461E-A9C2-773C035E5F02}" sibTransId="{32F677E5-DD37-4894-A1C0-94C484ABEEC7}"/>
    <dgm:cxn modelId="{44B68E7A-3772-4CA2-A9C7-776FFF1DBF2D}" srcId="{64BFF3FD-8B47-4032-96B8-54098BC5B204}" destId="{A7A38EC7-5662-4AB1-8345-450071DD9351}" srcOrd="1" destOrd="0" parTransId="{C36184D0-2C45-4859-849E-F7C4D75622F6}" sibTransId="{B9892969-8309-499F-887D-D605F568AEC3}"/>
    <dgm:cxn modelId="{18B9307F-2E17-4721-A615-CAD5D8D40039}" srcId="{E4D2DC89-BDD5-4CFF-8AB2-0DC9B00DC8D9}" destId="{069AE4E9-60E9-445E-A212-4B5F05DAA425}" srcOrd="0" destOrd="0" parTransId="{0A43BED6-752C-4B71-A0B4-5D0A2ABE66A1}" sibTransId="{B53F2E14-45E7-4B19-8176-D5F8F3BFCFF5}"/>
    <dgm:cxn modelId="{D9AFD289-3288-45DC-A85A-874A4CE076AE}" type="presOf" srcId="{67E44975-9596-4576-9DE1-AEC2BBCF7462}" destId="{3095F33F-17C0-4781-842D-F323BBB7457E}" srcOrd="0" destOrd="0" presId="urn:microsoft.com/office/officeart/2005/8/layout/vList2"/>
    <dgm:cxn modelId="{2F350096-4D9B-4987-B42E-79263BF29693}" type="presOf" srcId="{9AC91FE1-0127-4FA0-BFE4-BC79C0A0535A}" destId="{57A6D67C-E0A4-4622-848D-8ED45ABB661C}" srcOrd="0" destOrd="0" presId="urn:microsoft.com/office/officeart/2005/8/layout/vList2"/>
    <dgm:cxn modelId="{A4968999-6125-47A7-A5C4-1C0EE5D923E4}" srcId="{9AC91FE1-0127-4FA0-BFE4-BC79C0A0535A}" destId="{E4D2DC89-BDD5-4CFF-8AB2-0DC9B00DC8D9}" srcOrd="1" destOrd="0" parTransId="{B41CAAF7-470A-45E3-930C-8C6DE9010746}" sibTransId="{AEB538A4-A815-44C0-83C4-1A45E9CBC61B}"/>
    <dgm:cxn modelId="{8A7550AC-DDDC-40F2-9647-4CACC7DCE52A}" srcId="{64BFF3FD-8B47-4032-96B8-54098BC5B204}" destId="{199C3076-CA63-4558-AC77-26989E81A76B}" srcOrd="0" destOrd="0" parTransId="{609B0352-AE10-4F04-848E-C36509C37E9A}" sibTransId="{D3E87114-6B48-4ED2-A589-73F26CCB2786}"/>
    <dgm:cxn modelId="{8F830AAF-C4D0-400F-A7E4-6C7ABDF3F350}" type="presOf" srcId="{A97EDB9B-1812-4171-AD37-AA275DB21598}" destId="{257D5C56-26E4-4280-9D6B-F07CF3507111}" srcOrd="0" destOrd="1" presId="urn:microsoft.com/office/officeart/2005/8/layout/vList2"/>
    <dgm:cxn modelId="{3AAFF0B7-024E-492B-9941-C55B3FEDB75F}" srcId="{9AC91FE1-0127-4FA0-BFE4-BC79C0A0535A}" destId="{67E44975-9596-4576-9DE1-AEC2BBCF7462}" srcOrd="3" destOrd="0" parTransId="{84E5A7C3-C589-457B-9D2F-665E0623C52F}" sibTransId="{286C7153-793D-4812-BEF9-3168FD52329B}"/>
    <dgm:cxn modelId="{F4F27AC3-272B-46FC-9E54-CF44F0DF66DA}" type="presOf" srcId="{366F313C-CDAE-4FBD-96D8-79610D6788DA}" destId="{257D5C56-26E4-4280-9D6B-F07CF3507111}" srcOrd="0" destOrd="3" presId="urn:microsoft.com/office/officeart/2005/8/layout/vList2"/>
    <dgm:cxn modelId="{58659FC4-519A-41CD-B03B-A743080ED563}" srcId="{9AC91FE1-0127-4FA0-BFE4-BC79C0A0535A}" destId="{6AE6A2D3-EB4D-4208-A33A-002D5EDDA8D9}" srcOrd="2" destOrd="0" parTransId="{FA53B1C2-10B4-439A-976E-CA191D270D96}" sibTransId="{F733AA01-EC75-49C6-AA11-7216758A765D}"/>
    <dgm:cxn modelId="{775062CC-4530-47E3-BDEC-078C1EE2D397}" srcId="{E4D2DC89-BDD5-4CFF-8AB2-0DC9B00DC8D9}" destId="{366F313C-CDAE-4FBD-96D8-79610D6788DA}" srcOrd="3" destOrd="0" parTransId="{57339336-2FE4-4F59-B221-AED3A43EC541}" sibTransId="{AD157061-E32F-4658-99F2-AF5E00750441}"/>
    <dgm:cxn modelId="{E92A52D9-D7BF-46EB-8DEF-11A9964FFBFF}" srcId="{E4D2DC89-BDD5-4CFF-8AB2-0DC9B00DC8D9}" destId="{A97EDB9B-1812-4171-AD37-AA275DB21598}" srcOrd="1" destOrd="0" parTransId="{F79EB7D7-4F35-4D14-BC35-0961F522D658}" sibTransId="{AE6AC99D-15EE-4919-9433-7D803ABAB822}"/>
    <dgm:cxn modelId="{983CACF8-24B9-42BC-BA9E-75DD243CF4DF}" srcId="{6AE6A2D3-EB4D-4208-A33A-002D5EDDA8D9}" destId="{437B8CC6-B0A4-4F91-96FD-8583E3384482}" srcOrd="0" destOrd="0" parTransId="{42984523-B092-45F4-A587-C6FB7EE63BCC}" sibTransId="{D14E35FE-4EA9-4922-9B09-E2CED3ADBF9E}"/>
    <dgm:cxn modelId="{38381A3F-8595-4B8D-A58C-11DB6F5175B1}" type="presParOf" srcId="{57A6D67C-E0A4-4622-848D-8ED45ABB661C}" destId="{23FE6862-2C2E-4768-B97F-FE07A0055907}" srcOrd="0" destOrd="0" presId="urn:microsoft.com/office/officeart/2005/8/layout/vList2"/>
    <dgm:cxn modelId="{9709AC9F-D4ED-45E7-A155-920117888D7E}" type="presParOf" srcId="{57A6D67C-E0A4-4622-848D-8ED45ABB661C}" destId="{F72A0DEE-E24D-4CF4-8190-AA59D264CE4A}" srcOrd="1" destOrd="0" presId="urn:microsoft.com/office/officeart/2005/8/layout/vList2"/>
    <dgm:cxn modelId="{33C53736-328F-4727-B6E6-C023CC99F508}" type="presParOf" srcId="{57A6D67C-E0A4-4622-848D-8ED45ABB661C}" destId="{543D6A95-9340-4F48-A152-46905A1FCFA4}" srcOrd="2" destOrd="0" presId="urn:microsoft.com/office/officeart/2005/8/layout/vList2"/>
    <dgm:cxn modelId="{F8C4459B-051D-40FE-B24C-47A9B2F92316}" type="presParOf" srcId="{57A6D67C-E0A4-4622-848D-8ED45ABB661C}" destId="{257D5C56-26E4-4280-9D6B-F07CF3507111}" srcOrd="3" destOrd="0" presId="urn:microsoft.com/office/officeart/2005/8/layout/vList2"/>
    <dgm:cxn modelId="{73A5934E-5A02-4E51-8F58-16327FE1C305}" type="presParOf" srcId="{57A6D67C-E0A4-4622-848D-8ED45ABB661C}" destId="{0109B17C-7AAE-40AA-801C-A525E8C5E591}" srcOrd="4" destOrd="0" presId="urn:microsoft.com/office/officeart/2005/8/layout/vList2"/>
    <dgm:cxn modelId="{411F6856-4820-4EF4-AABE-155ACA28D1F8}" type="presParOf" srcId="{57A6D67C-E0A4-4622-848D-8ED45ABB661C}" destId="{2F141D62-75C8-4FFF-A1CE-43D14E353F07}" srcOrd="5" destOrd="0" presId="urn:microsoft.com/office/officeart/2005/8/layout/vList2"/>
    <dgm:cxn modelId="{3D0E8A06-A4B7-4D0D-8E00-8A45B725774F}" type="presParOf" srcId="{57A6D67C-E0A4-4622-848D-8ED45ABB661C}" destId="{3095F33F-17C0-4781-842D-F323BBB7457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5A133C8-75A1-4EA1-81CF-1430B8EC73B3}" type="doc">
      <dgm:prSet loTypeId="urn:microsoft.com/office/officeart/2005/8/layout/vList2" loCatId="list" qsTypeId="urn:microsoft.com/office/officeart/2005/8/quickstyle/simple1" qsCatId="simple" csTypeId="urn:microsoft.com/office/officeart/2005/8/colors/accent5_3" csCatId="accent5" phldr="1"/>
      <dgm:spPr/>
      <dgm:t>
        <a:bodyPr/>
        <a:lstStyle/>
        <a:p>
          <a:endParaRPr lang="en-US"/>
        </a:p>
      </dgm:t>
    </dgm:pt>
    <dgm:pt modelId="{F5A082AA-39E2-4D41-9702-A852DDC8AD69}">
      <dgm:prSet/>
      <dgm:spPr/>
      <dgm:t>
        <a:bodyPr/>
        <a:lstStyle/>
        <a:p>
          <a:r>
            <a:rPr lang="en-US"/>
            <a:t>Study material</a:t>
          </a:r>
        </a:p>
      </dgm:t>
    </dgm:pt>
    <dgm:pt modelId="{B84C364D-4F43-4F34-A5E0-25CDEA2F1176}" type="parTrans" cxnId="{0950FACA-7F08-4BD8-9571-E837806952F9}">
      <dgm:prSet/>
      <dgm:spPr/>
      <dgm:t>
        <a:bodyPr/>
        <a:lstStyle/>
        <a:p>
          <a:endParaRPr lang="en-US"/>
        </a:p>
      </dgm:t>
    </dgm:pt>
    <dgm:pt modelId="{8515B4C5-854B-481F-8BBF-F6CC1F21E09E}" type="sibTrans" cxnId="{0950FACA-7F08-4BD8-9571-E837806952F9}">
      <dgm:prSet/>
      <dgm:spPr/>
      <dgm:t>
        <a:bodyPr/>
        <a:lstStyle/>
        <a:p>
          <a:endParaRPr lang="en-US"/>
        </a:p>
      </dgm:t>
    </dgm:pt>
    <dgm:pt modelId="{B32B6005-2DC3-41B8-8BB4-C84D709E4193}">
      <dgm:prSet/>
      <dgm:spPr/>
      <dgm:t>
        <a:bodyPr/>
        <a:lstStyle/>
        <a:p>
          <a:r>
            <a:rPr lang="en-US"/>
            <a:t>Reference material</a:t>
          </a:r>
        </a:p>
      </dgm:t>
    </dgm:pt>
    <dgm:pt modelId="{EF65478D-4D23-49B3-B4B4-98CB1FF5E7E7}" type="parTrans" cxnId="{B75D8796-08D2-46E3-9158-DAE66BF9906E}">
      <dgm:prSet/>
      <dgm:spPr/>
      <dgm:t>
        <a:bodyPr/>
        <a:lstStyle/>
        <a:p>
          <a:endParaRPr lang="en-US"/>
        </a:p>
      </dgm:t>
    </dgm:pt>
    <dgm:pt modelId="{DE8B532C-C476-491B-9E84-A36B7968516C}" type="sibTrans" cxnId="{B75D8796-08D2-46E3-9158-DAE66BF9906E}">
      <dgm:prSet/>
      <dgm:spPr/>
      <dgm:t>
        <a:bodyPr/>
        <a:lstStyle/>
        <a:p>
          <a:endParaRPr lang="en-US"/>
        </a:p>
      </dgm:t>
    </dgm:pt>
    <dgm:pt modelId="{EF237E60-DC9E-43A3-9FE5-1CC78FFDA2B4}">
      <dgm:prSet/>
      <dgm:spPr/>
      <dgm:t>
        <a:bodyPr/>
        <a:lstStyle/>
        <a:p>
          <a:r>
            <a:rPr lang="en-US" dirty="0"/>
            <a:t>Object Oriented modeling - </a:t>
          </a:r>
          <a:r>
            <a:rPr lang="en-US" dirty="0" err="1">
              <a:hlinkClick xmlns:r="http://schemas.openxmlformats.org/officeDocument/2006/relationships" r:id="rId1"/>
            </a:rPr>
            <a:t>eGyanKosh</a:t>
          </a:r>
          <a:r>
            <a:rPr lang="en-US" dirty="0">
              <a:hlinkClick xmlns:r="http://schemas.openxmlformats.org/officeDocument/2006/relationships" r:id="rId1"/>
            </a:rPr>
            <a:t>: MCS-032 Object Oriented Analysis and Design</a:t>
          </a:r>
          <a:r>
            <a:rPr lang="en-US" dirty="0"/>
            <a:t> </a:t>
          </a:r>
        </a:p>
      </dgm:t>
    </dgm:pt>
    <dgm:pt modelId="{CB8C7228-2C39-4A63-A105-46C10C7D5379}" type="parTrans" cxnId="{F2D22A69-0822-4D9F-88C4-22144207DB43}">
      <dgm:prSet/>
      <dgm:spPr/>
      <dgm:t>
        <a:bodyPr/>
        <a:lstStyle/>
        <a:p>
          <a:endParaRPr lang="en-US"/>
        </a:p>
      </dgm:t>
    </dgm:pt>
    <dgm:pt modelId="{7224D528-B8BE-4E89-B4AE-50B37BFE1BB2}" type="sibTrans" cxnId="{F2D22A69-0822-4D9F-88C4-22144207DB43}">
      <dgm:prSet/>
      <dgm:spPr/>
      <dgm:t>
        <a:bodyPr/>
        <a:lstStyle/>
        <a:p>
          <a:endParaRPr lang="en-US"/>
        </a:p>
      </dgm:t>
    </dgm:pt>
    <dgm:pt modelId="{178067E8-2357-41A9-AC8E-D55087A26D58}">
      <dgm:prSet/>
      <dgm:spPr/>
      <dgm:t>
        <a:bodyPr/>
        <a:lstStyle/>
        <a:p>
          <a:r>
            <a:rPr lang="en-US" dirty="0"/>
            <a:t>Course in Pluralsight and LinkedIn on Object oriented programming using JavaScript</a:t>
          </a:r>
        </a:p>
      </dgm:t>
    </dgm:pt>
    <dgm:pt modelId="{A3FC1BE6-3226-4AAB-834C-742625DC826D}" type="parTrans" cxnId="{3BCA6584-9057-410A-B3F4-8F6BE4E0590C}">
      <dgm:prSet/>
      <dgm:spPr/>
      <dgm:t>
        <a:bodyPr/>
        <a:lstStyle/>
        <a:p>
          <a:endParaRPr lang="en-IN"/>
        </a:p>
      </dgm:t>
    </dgm:pt>
    <dgm:pt modelId="{6C8F4982-A1C9-4AAE-A5B4-D3604B18D2E5}" type="sibTrans" cxnId="{3BCA6584-9057-410A-B3F4-8F6BE4E0590C}">
      <dgm:prSet/>
      <dgm:spPr/>
      <dgm:t>
        <a:bodyPr/>
        <a:lstStyle/>
        <a:p>
          <a:endParaRPr lang="en-IN"/>
        </a:p>
      </dgm:t>
    </dgm:pt>
    <dgm:pt modelId="{A6E8A745-29EA-4D83-A9C9-29E55CD652CA}" type="pres">
      <dgm:prSet presAssocID="{C5A133C8-75A1-4EA1-81CF-1430B8EC73B3}" presName="linear" presStyleCnt="0">
        <dgm:presLayoutVars>
          <dgm:animLvl val="lvl"/>
          <dgm:resizeHandles val="exact"/>
        </dgm:presLayoutVars>
      </dgm:prSet>
      <dgm:spPr/>
    </dgm:pt>
    <dgm:pt modelId="{FDDE7B90-97FB-4D33-B66E-A70CE96E9910}" type="pres">
      <dgm:prSet presAssocID="{F5A082AA-39E2-4D41-9702-A852DDC8AD69}" presName="parentText" presStyleLbl="node1" presStyleIdx="0" presStyleCnt="2">
        <dgm:presLayoutVars>
          <dgm:chMax val="0"/>
          <dgm:bulletEnabled val="1"/>
        </dgm:presLayoutVars>
      </dgm:prSet>
      <dgm:spPr/>
    </dgm:pt>
    <dgm:pt modelId="{1FA296BA-20E1-4F11-813A-9A9681B79A78}" type="pres">
      <dgm:prSet presAssocID="{F5A082AA-39E2-4D41-9702-A852DDC8AD69}" presName="childText" presStyleLbl="revTx" presStyleIdx="0" presStyleCnt="2">
        <dgm:presLayoutVars>
          <dgm:bulletEnabled val="1"/>
        </dgm:presLayoutVars>
      </dgm:prSet>
      <dgm:spPr/>
    </dgm:pt>
    <dgm:pt modelId="{F7073D54-54C3-40FF-8BC4-A1C1B6A92F45}" type="pres">
      <dgm:prSet presAssocID="{B32B6005-2DC3-41B8-8BB4-C84D709E4193}" presName="parentText" presStyleLbl="node1" presStyleIdx="1" presStyleCnt="2">
        <dgm:presLayoutVars>
          <dgm:chMax val="0"/>
          <dgm:bulletEnabled val="1"/>
        </dgm:presLayoutVars>
      </dgm:prSet>
      <dgm:spPr/>
    </dgm:pt>
    <dgm:pt modelId="{E6883C08-F49E-4242-AC93-30B3F1DDD67B}" type="pres">
      <dgm:prSet presAssocID="{B32B6005-2DC3-41B8-8BB4-C84D709E4193}" presName="childText" presStyleLbl="revTx" presStyleIdx="1" presStyleCnt="2">
        <dgm:presLayoutVars>
          <dgm:bulletEnabled val="1"/>
        </dgm:presLayoutVars>
      </dgm:prSet>
      <dgm:spPr/>
    </dgm:pt>
  </dgm:ptLst>
  <dgm:cxnLst>
    <dgm:cxn modelId="{0214F512-6E83-4FE7-BD8E-4D11AB59BD1A}" type="presOf" srcId="{EF237E60-DC9E-43A3-9FE5-1CC78FFDA2B4}" destId="{E6883C08-F49E-4242-AC93-30B3F1DDD67B}" srcOrd="0" destOrd="0" presId="urn:microsoft.com/office/officeart/2005/8/layout/vList2"/>
    <dgm:cxn modelId="{F2D22A69-0822-4D9F-88C4-22144207DB43}" srcId="{B32B6005-2DC3-41B8-8BB4-C84D709E4193}" destId="{EF237E60-DC9E-43A3-9FE5-1CC78FFDA2B4}" srcOrd="0" destOrd="0" parTransId="{CB8C7228-2C39-4A63-A105-46C10C7D5379}" sibTransId="{7224D528-B8BE-4E89-B4AE-50B37BFE1BB2}"/>
    <dgm:cxn modelId="{CCFD997D-0315-4540-9136-88CE8062CEAC}" type="presOf" srcId="{B32B6005-2DC3-41B8-8BB4-C84D709E4193}" destId="{F7073D54-54C3-40FF-8BC4-A1C1B6A92F45}" srcOrd="0" destOrd="0" presId="urn:microsoft.com/office/officeart/2005/8/layout/vList2"/>
    <dgm:cxn modelId="{3BCA6584-9057-410A-B3F4-8F6BE4E0590C}" srcId="{F5A082AA-39E2-4D41-9702-A852DDC8AD69}" destId="{178067E8-2357-41A9-AC8E-D55087A26D58}" srcOrd="0" destOrd="0" parTransId="{A3FC1BE6-3226-4AAB-834C-742625DC826D}" sibTransId="{6C8F4982-A1C9-4AAE-A5B4-D3604B18D2E5}"/>
    <dgm:cxn modelId="{B75D8796-08D2-46E3-9158-DAE66BF9906E}" srcId="{C5A133C8-75A1-4EA1-81CF-1430B8EC73B3}" destId="{B32B6005-2DC3-41B8-8BB4-C84D709E4193}" srcOrd="1" destOrd="0" parTransId="{EF65478D-4D23-49B3-B4B4-98CB1FF5E7E7}" sibTransId="{DE8B532C-C476-491B-9E84-A36B7968516C}"/>
    <dgm:cxn modelId="{F3E4BAAF-86E0-45AC-B310-C36AD0B5E79B}" type="presOf" srcId="{C5A133C8-75A1-4EA1-81CF-1430B8EC73B3}" destId="{A6E8A745-29EA-4D83-A9C9-29E55CD652CA}" srcOrd="0" destOrd="0" presId="urn:microsoft.com/office/officeart/2005/8/layout/vList2"/>
    <dgm:cxn modelId="{0950FACA-7F08-4BD8-9571-E837806952F9}" srcId="{C5A133C8-75A1-4EA1-81CF-1430B8EC73B3}" destId="{F5A082AA-39E2-4D41-9702-A852DDC8AD69}" srcOrd="0" destOrd="0" parTransId="{B84C364D-4F43-4F34-A5E0-25CDEA2F1176}" sibTransId="{8515B4C5-854B-481F-8BBF-F6CC1F21E09E}"/>
    <dgm:cxn modelId="{CFF95CEC-3878-4306-A3AA-E39EDE4D042B}" type="presOf" srcId="{F5A082AA-39E2-4D41-9702-A852DDC8AD69}" destId="{FDDE7B90-97FB-4D33-B66E-A70CE96E9910}" srcOrd="0" destOrd="0" presId="urn:microsoft.com/office/officeart/2005/8/layout/vList2"/>
    <dgm:cxn modelId="{FF1893F4-4EBF-4768-AC3A-E5F8AD1E975D}" type="presOf" srcId="{178067E8-2357-41A9-AC8E-D55087A26D58}" destId="{1FA296BA-20E1-4F11-813A-9A9681B79A78}" srcOrd="0" destOrd="0" presId="urn:microsoft.com/office/officeart/2005/8/layout/vList2"/>
    <dgm:cxn modelId="{F6F6AFEE-EC07-4FCE-893D-DCC66A43BCEF}" type="presParOf" srcId="{A6E8A745-29EA-4D83-A9C9-29E55CD652CA}" destId="{FDDE7B90-97FB-4D33-B66E-A70CE96E9910}" srcOrd="0" destOrd="0" presId="urn:microsoft.com/office/officeart/2005/8/layout/vList2"/>
    <dgm:cxn modelId="{ACE3C230-97FB-417E-A236-631FF053B08F}" type="presParOf" srcId="{A6E8A745-29EA-4D83-A9C9-29E55CD652CA}" destId="{1FA296BA-20E1-4F11-813A-9A9681B79A78}" srcOrd="1" destOrd="0" presId="urn:microsoft.com/office/officeart/2005/8/layout/vList2"/>
    <dgm:cxn modelId="{A9E05FC3-4312-4E98-807A-926BB561AC38}" type="presParOf" srcId="{A6E8A745-29EA-4D83-A9C9-29E55CD652CA}" destId="{F7073D54-54C3-40FF-8BC4-A1C1B6A92F45}" srcOrd="2" destOrd="0" presId="urn:microsoft.com/office/officeart/2005/8/layout/vList2"/>
    <dgm:cxn modelId="{1C9B7DF7-BD92-44DD-923D-9561DED7EAF7}" type="presParOf" srcId="{A6E8A745-29EA-4D83-A9C9-29E55CD652CA}" destId="{E6883C08-F49E-4242-AC93-30B3F1DDD67B}"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92DE4-E824-41D9-8958-07D58E16DF94}">
      <dsp:nvSpPr>
        <dsp:cNvPr id="0" name=""/>
        <dsp:cNvSpPr/>
      </dsp:nvSpPr>
      <dsp:spPr>
        <a:xfrm>
          <a:off x="5304774" y="1917604"/>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3B7E64-C22A-45D9-B024-B7A9AED0C1C3}">
      <dsp:nvSpPr>
        <dsp:cNvPr id="0" name=""/>
        <dsp:cNvSpPr/>
      </dsp:nvSpPr>
      <dsp:spPr>
        <a:xfrm>
          <a:off x="4053500" y="772503"/>
          <a:ext cx="1869187" cy="324404"/>
        </a:xfrm>
        <a:custGeom>
          <a:avLst/>
          <a:gdLst/>
          <a:ahLst/>
          <a:cxnLst/>
          <a:rect l="0" t="0" r="0" b="0"/>
          <a:pathLst>
            <a:path>
              <a:moveTo>
                <a:pt x="0" y="0"/>
              </a:moveTo>
              <a:lnTo>
                <a:pt x="0" y="162202"/>
              </a:lnTo>
              <a:lnTo>
                <a:pt x="1869187" y="162202"/>
              </a:lnTo>
              <a:lnTo>
                <a:pt x="1869187"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65572F-32EF-40B9-98CA-7D99E615A310}">
      <dsp:nvSpPr>
        <dsp:cNvPr id="0" name=""/>
        <dsp:cNvSpPr/>
      </dsp:nvSpPr>
      <dsp:spPr>
        <a:xfrm>
          <a:off x="3435586" y="1942854"/>
          <a:ext cx="231717" cy="1807396"/>
        </a:xfrm>
        <a:custGeom>
          <a:avLst/>
          <a:gdLst/>
          <a:ahLst/>
          <a:cxnLst/>
          <a:rect l="0" t="0" r="0" b="0"/>
          <a:pathLst>
            <a:path>
              <a:moveTo>
                <a:pt x="0" y="0"/>
              </a:moveTo>
              <a:lnTo>
                <a:pt x="0" y="1807396"/>
              </a:lnTo>
              <a:lnTo>
                <a:pt x="231717" y="1807396"/>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80FF95F-092E-4762-8A32-9F447AAE9E31}">
      <dsp:nvSpPr>
        <dsp:cNvPr id="0" name=""/>
        <dsp:cNvSpPr/>
      </dsp:nvSpPr>
      <dsp:spPr>
        <a:xfrm>
          <a:off x="3435586" y="1942854"/>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388E17-C062-4A25-86DF-0652A2EF0439}">
      <dsp:nvSpPr>
        <dsp:cNvPr id="0" name=""/>
        <dsp:cNvSpPr/>
      </dsp:nvSpPr>
      <dsp:spPr>
        <a:xfrm>
          <a:off x="4007780" y="772503"/>
          <a:ext cx="91440" cy="324404"/>
        </a:xfrm>
        <a:custGeom>
          <a:avLst/>
          <a:gdLst/>
          <a:ahLst/>
          <a:cxnLst/>
          <a:rect l="0" t="0" r="0" b="0"/>
          <a:pathLst>
            <a:path>
              <a:moveTo>
                <a:pt x="45720" y="0"/>
              </a:moveTo>
              <a:lnTo>
                <a:pt x="45720"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E3312E-9A64-47F7-8CA1-6A485A5627D5}">
      <dsp:nvSpPr>
        <dsp:cNvPr id="0" name=""/>
        <dsp:cNvSpPr/>
      </dsp:nvSpPr>
      <dsp:spPr>
        <a:xfrm>
          <a:off x="1566399" y="1971896"/>
          <a:ext cx="231717" cy="1807396"/>
        </a:xfrm>
        <a:custGeom>
          <a:avLst/>
          <a:gdLst/>
          <a:ahLst/>
          <a:cxnLst/>
          <a:rect l="0" t="0" r="0" b="0"/>
          <a:pathLst>
            <a:path>
              <a:moveTo>
                <a:pt x="0" y="0"/>
              </a:moveTo>
              <a:lnTo>
                <a:pt x="0" y="1807396"/>
              </a:lnTo>
              <a:lnTo>
                <a:pt x="231717" y="1807396"/>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E950AC-307C-49A6-87D3-1CBDE44C5DBF}">
      <dsp:nvSpPr>
        <dsp:cNvPr id="0" name=""/>
        <dsp:cNvSpPr/>
      </dsp:nvSpPr>
      <dsp:spPr>
        <a:xfrm>
          <a:off x="1566399" y="1971896"/>
          <a:ext cx="231717" cy="710600"/>
        </a:xfrm>
        <a:custGeom>
          <a:avLst/>
          <a:gdLst/>
          <a:ahLst/>
          <a:cxnLst/>
          <a:rect l="0" t="0" r="0" b="0"/>
          <a:pathLst>
            <a:path>
              <a:moveTo>
                <a:pt x="0" y="0"/>
              </a:moveTo>
              <a:lnTo>
                <a:pt x="0" y="710600"/>
              </a:lnTo>
              <a:lnTo>
                <a:pt x="231717" y="710600"/>
              </a:lnTo>
            </a:path>
          </a:pathLst>
        </a:custGeom>
        <a:noFill/>
        <a:ln w="12700" cap="flat" cmpd="sng" algn="ctr">
          <a:solidFill>
            <a:schemeClr val="accent5">
              <a:tint val="7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E0D1BD-6196-4066-BF5E-1492B203FB1C}">
      <dsp:nvSpPr>
        <dsp:cNvPr id="0" name=""/>
        <dsp:cNvSpPr/>
      </dsp:nvSpPr>
      <dsp:spPr>
        <a:xfrm>
          <a:off x="2184312" y="772503"/>
          <a:ext cx="1869187" cy="324404"/>
        </a:xfrm>
        <a:custGeom>
          <a:avLst/>
          <a:gdLst/>
          <a:ahLst/>
          <a:cxnLst/>
          <a:rect l="0" t="0" r="0" b="0"/>
          <a:pathLst>
            <a:path>
              <a:moveTo>
                <a:pt x="1869187" y="0"/>
              </a:moveTo>
              <a:lnTo>
                <a:pt x="1869187" y="162202"/>
              </a:lnTo>
              <a:lnTo>
                <a:pt x="0" y="162202"/>
              </a:lnTo>
              <a:lnTo>
                <a:pt x="0" y="324404"/>
              </a:lnTo>
            </a:path>
          </a:pathLst>
        </a:custGeom>
        <a:noFill/>
        <a:ln w="12700" cap="flat" cmpd="sng" algn="ctr">
          <a:solidFill>
            <a:schemeClr val="accent5">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5EEADA-CE3D-4163-80F4-CB70724EEA75}">
      <dsp:nvSpPr>
        <dsp:cNvPr id="0" name=""/>
        <dsp:cNvSpPr/>
      </dsp:nvSpPr>
      <dsp:spPr>
        <a:xfrm>
          <a:off x="3281108" y="112"/>
          <a:ext cx="1544782" cy="772391"/>
        </a:xfrm>
        <a:prstGeom prst="rect">
          <a:avLst/>
        </a:prstGeom>
        <a:solidFill>
          <a:schemeClr val="accent5">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Objectives</a:t>
          </a:r>
        </a:p>
      </dsp:txBody>
      <dsp:txXfrm>
        <a:off x="3281108" y="112"/>
        <a:ext cx="1544782" cy="772391"/>
      </dsp:txXfrm>
    </dsp:sp>
    <dsp:sp modelId="{26C629AF-38DC-40C1-928F-5123B96509E5}">
      <dsp:nvSpPr>
        <dsp:cNvPr id="0" name=""/>
        <dsp:cNvSpPr/>
      </dsp:nvSpPr>
      <dsp:spPr>
        <a:xfrm>
          <a:off x="1411921" y="1096907"/>
          <a:ext cx="1544782" cy="874988"/>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Programming skills – 35% marks</a:t>
          </a:r>
        </a:p>
      </dsp:txBody>
      <dsp:txXfrm>
        <a:off x="1411921" y="1096907"/>
        <a:ext cx="1544782" cy="874988"/>
      </dsp:txXfrm>
    </dsp:sp>
    <dsp:sp modelId="{E3F679D2-B6B7-4DD3-AE39-C90FE694DBB7}">
      <dsp:nvSpPr>
        <dsp:cNvPr id="0" name=""/>
        <dsp:cNvSpPr/>
      </dsp:nvSpPr>
      <dsp:spPr>
        <a:xfrm>
          <a:off x="1798117" y="2296300"/>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Hands on training for 7 weeks – 5% per week</a:t>
          </a:r>
        </a:p>
      </dsp:txBody>
      <dsp:txXfrm>
        <a:off x="1798117" y="2296300"/>
        <a:ext cx="1544782" cy="772391"/>
      </dsp:txXfrm>
    </dsp:sp>
    <dsp:sp modelId="{D0EF95F5-A4C2-4B08-B8CC-039C9BF43E9C}">
      <dsp:nvSpPr>
        <dsp:cNvPr id="0" name=""/>
        <dsp:cNvSpPr/>
      </dsp:nvSpPr>
      <dsp:spPr>
        <a:xfrm>
          <a:off x="1798117" y="3393096"/>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Deep dive for 2 weeks</a:t>
          </a:r>
        </a:p>
      </dsp:txBody>
      <dsp:txXfrm>
        <a:off x="1798117" y="3393096"/>
        <a:ext cx="1544782" cy="772391"/>
      </dsp:txXfrm>
    </dsp:sp>
    <dsp:sp modelId="{FEC0462F-294F-41FF-A5B3-B6EF94164A27}">
      <dsp:nvSpPr>
        <dsp:cNvPr id="0" name=""/>
        <dsp:cNvSpPr/>
      </dsp:nvSpPr>
      <dsp:spPr>
        <a:xfrm>
          <a:off x="3281108" y="1096907"/>
          <a:ext cx="1544782" cy="845946"/>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Development at scale – 50%</a:t>
          </a:r>
        </a:p>
      </dsp:txBody>
      <dsp:txXfrm>
        <a:off x="3281108" y="1096907"/>
        <a:ext cx="1544782" cy="845946"/>
      </dsp:txXfrm>
    </dsp:sp>
    <dsp:sp modelId="{4FCEF338-B2C2-4936-863A-C1EB4EAC4341}">
      <dsp:nvSpPr>
        <dsp:cNvPr id="0" name=""/>
        <dsp:cNvSpPr/>
      </dsp:nvSpPr>
      <dsp:spPr>
        <a:xfrm>
          <a:off x="3667304" y="2267258"/>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Individual project – 20%</a:t>
          </a:r>
        </a:p>
      </dsp:txBody>
      <dsp:txXfrm>
        <a:off x="3667304" y="2267258"/>
        <a:ext cx="1544782" cy="772391"/>
      </dsp:txXfrm>
    </dsp:sp>
    <dsp:sp modelId="{784E381A-9E72-452A-B5C3-879F5230A0C3}">
      <dsp:nvSpPr>
        <dsp:cNvPr id="0" name=""/>
        <dsp:cNvSpPr/>
      </dsp:nvSpPr>
      <dsp:spPr>
        <a:xfrm>
          <a:off x="3667304" y="3364054"/>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Team based development – 30%</a:t>
          </a:r>
        </a:p>
      </dsp:txBody>
      <dsp:txXfrm>
        <a:off x="3667304" y="3364054"/>
        <a:ext cx="1544782" cy="772391"/>
      </dsp:txXfrm>
    </dsp:sp>
    <dsp:sp modelId="{C4E8F6B8-A613-4C90-A3FB-F00BEA541724}">
      <dsp:nvSpPr>
        <dsp:cNvPr id="0" name=""/>
        <dsp:cNvSpPr/>
      </dsp:nvSpPr>
      <dsp:spPr>
        <a:xfrm>
          <a:off x="5150296" y="1096907"/>
          <a:ext cx="1544782" cy="820696"/>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Breadth of knowledge – 15%</a:t>
          </a:r>
        </a:p>
      </dsp:txBody>
      <dsp:txXfrm>
        <a:off x="5150296" y="1096907"/>
        <a:ext cx="1544782" cy="820696"/>
      </dsp:txXfrm>
    </dsp:sp>
    <dsp:sp modelId="{ACA18474-22F6-4498-A5B0-5C8342E63124}">
      <dsp:nvSpPr>
        <dsp:cNvPr id="0" name=""/>
        <dsp:cNvSpPr/>
      </dsp:nvSpPr>
      <dsp:spPr>
        <a:xfrm>
          <a:off x="5536491" y="2242009"/>
          <a:ext cx="1544782" cy="7723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a:t>Weekly team presentation of a topic 2.5%</a:t>
          </a:r>
        </a:p>
      </dsp:txBody>
      <dsp:txXfrm>
        <a:off x="5536491" y="2242009"/>
        <a:ext cx="1544782" cy="77239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518257"/>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Exercises </a:t>
          </a:r>
        </a:p>
      </dsp:txBody>
      <dsp:txXfrm>
        <a:off x="25299" y="25299"/>
        <a:ext cx="8102802" cy="467659"/>
      </dsp:txXfrm>
    </dsp:sp>
    <dsp:sp modelId="{AA89B326-56FA-412B-A913-C6B0240A88D6}">
      <dsp:nvSpPr>
        <dsp:cNvPr id="0" name=""/>
        <dsp:cNvSpPr/>
      </dsp:nvSpPr>
      <dsp:spPr>
        <a:xfrm>
          <a:off x="0" y="320904"/>
          <a:ext cx="8153400" cy="2438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Extend the Employee information [CRUD based] and add persistence</a:t>
          </a:r>
        </a:p>
        <a:p>
          <a:pPr marL="114300" lvl="1" indent="-114300" algn="l" defTabSz="666750">
            <a:lnSpc>
              <a:spcPct val="90000"/>
            </a:lnSpc>
            <a:spcBef>
              <a:spcPct val="0"/>
            </a:spcBef>
            <a:spcAft>
              <a:spcPct val="20000"/>
            </a:spcAft>
            <a:buChar char="•"/>
          </a:pPr>
          <a:r>
            <a:rPr lang="en-US" sz="1500" kern="1200" dirty="0"/>
            <a:t>Add capability to search for a particular employee</a:t>
          </a:r>
        </a:p>
        <a:p>
          <a:pPr marL="114300" lvl="1" indent="-114300" algn="l" defTabSz="666750">
            <a:lnSpc>
              <a:spcPct val="90000"/>
            </a:lnSpc>
            <a:spcBef>
              <a:spcPct val="0"/>
            </a:spcBef>
            <a:spcAft>
              <a:spcPct val="20000"/>
            </a:spcAft>
            <a:buChar char="•"/>
          </a:pPr>
          <a:r>
            <a:rPr lang="en-US" sz="1500" kern="1200" dirty="0"/>
            <a:t>Enhance the Employee information application to maintain monthly pay slips for each employee</a:t>
          </a:r>
        </a:p>
        <a:p>
          <a:pPr marL="114300" lvl="1" indent="-114300" algn="l" defTabSz="666750">
            <a:lnSpc>
              <a:spcPct val="90000"/>
            </a:lnSpc>
            <a:spcBef>
              <a:spcPct val="0"/>
            </a:spcBef>
            <a:spcAft>
              <a:spcPct val="20000"/>
            </a:spcAft>
            <a:buChar char="•"/>
          </a:pPr>
          <a:r>
            <a:rPr lang="en-US" sz="1500" kern="1200" dirty="0"/>
            <a:t>Implement the Employee information application  to track all projects [assume employees to be working on multiple projects simultaneously]  each employee is working on</a:t>
          </a:r>
        </a:p>
        <a:p>
          <a:pPr marL="114300" lvl="1" indent="-114300" algn="l" defTabSz="666750">
            <a:lnSpc>
              <a:spcPct val="90000"/>
            </a:lnSpc>
            <a:spcBef>
              <a:spcPct val="0"/>
            </a:spcBef>
            <a:spcAft>
              <a:spcPct val="20000"/>
            </a:spcAft>
            <a:buChar char="•"/>
          </a:pPr>
          <a:r>
            <a:rPr lang="en-US" sz="1500" kern="1200" dirty="0"/>
            <a:t>Add capability to search for a all projects an employee is working on or list all employees working in a particular project</a:t>
          </a:r>
        </a:p>
        <a:p>
          <a:pPr marL="114300" lvl="1" indent="-114300" algn="l" defTabSz="666750">
            <a:lnSpc>
              <a:spcPct val="90000"/>
            </a:lnSpc>
            <a:spcBef>
              <a:spcPct val="0"/>
            </a:spcBef>
            <a:spcAft>
              <a:spcPct val="20000"/>
            </a:spcAft>
            <a:buChar char="•"/>
          </a:pPr>
          <a:r>
            <a:rPr lang="en-US" sz="1500" kern="1200" dirty="0"/>
            <a:t>Convert the log messages to go into a file instead of the console.</a:t>
          </a:r>
        </a:p>
        <a:p>
          <a:pPr marL="114300" lvl="1" indent="-114300" algn="l" defTabSz="666750">
            <a:lnSpc>
              <a:spcPct val="90000"/>
            </a:lnSpc>
            <a:spcBef>
              <a:spcPct val="0"/>
            </a:spcBef>
            <a:spcAft>
              <a:spcPct val="20000"/>
            </a:spcAft>
            <a:buChar char="•"/>
          </a:pPr>
          <a:r>
            <a:rPr lang="en-US" sz="1500" kern="1200" dirty="0"/>
            <a:t>If the number of employees is too large to bring all records into memory for processing, how will manage the CRUD operation in this scenario?</a:t>
          </a:r>
        </a:p>
      </dsp:txBody>
      <dsp:txXfrm>
        <a:off x="0" y="320904"/>
        <a:ext cx="8153400" cy="2438460"/>
      </dsp:txXfrm>
    </dsp:sp>
    <dsp:sp modelId="{46D43071-C761-47B9-B977-3C1563DACDB5}">
      <dsp:nvSpPr>
        <dsp:cNvPr id="0" name=""/>
        <dsp:cNvSpPr/>
      </dsp:nvSpPr>
      <dsp:spPr>
        <a:xfrm>
          <a:off x="0" y="2755486"/>
          <a:ext cx="8153400" cy="1053840"/>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solidFill>
                <a:schemeClr val="bg2">
                  <a:lumMod val="10000"/>
                </a:schemeClr>
              </a:solidFill>
            </a:rPr>
            <a:t>Ensure for the above code, you are handling all situations (E.g. File is not available in the specified location, file is locked by another user etc.). Make sure that at each step you are logging the processing being done in the application</a:t>
          </a:r>
          <a:r>
            <a:rPr lang="en-US" sz="1900" kern="1200" dirty="0"/>
            <a:t>.</a:t>
          </a:r>
        </a:p>
      </dsp:txBody>
      <dsp:txXfrm>
        <a:off x="51444" y="2806930"/>
        <a:ext cx="8050512" cy="95095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463704"/>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Exercises </a:t>
          </a:r>
        </a:p>
      </dsp:txBody>
      <dsp:txXfrm>
        <a:off x="22636" y="22636"/>
        <a:ext cx="8108128" cy="418432"/>
      </dsp:txXfrm>
    </dsp:sp>
    <dsp:sp modelId="{AA89B326-56FA-412B-A913-C6B0240A88D6}">
      <dsp:nvSpPr>
        <dsp:cNvPr id="0" name=""/>
        <dsp:cNvSpPr/>
      </dsp:nvSpPr>
      <dsp:spPr>
        <a:xfrm>
          <a:off x="0" y="281112"/>
          <a:ext cx="8153400" cy="2819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21590" rIns="120904" bIns="21590" numCol="1" spcCol="1270" anchor="t" anchorCtr="0">
          <a:noAutofit/>
        </a:bodyPr>
        <a:lstStyle/>
        <a:p>
          <a:pPr marL="114300" lvl="1" indent="-114300" algn="l" defTabSz="577850">
            <a:lnSpc>
              <a:spcPct val="90000"/>
            </a:lnSpc>
            <a:spcBef>
              <a:spcPct val="0"/>
            </a:spcBef>
            <a:spcAft>
              <a:spcPct val="20000"/>
            </a:spcAft>
            <a:buChar char="•"/>
          </a:pPr>
          <a:endParaRPr lang="en-US" sz="1300" kern="1200" dirty="0"/>
        </a:p>
        <a:p>
          <a:pPr marL="114300" lvl="1" indent="-114300" algn="l" defTabSz="577850">
            <a:lnSpc>
              <a:spcPct val="90000"/>
            </a:lnSpc>
            <a:spcBef>
              <a:spcPct val="0"/>
            </a:spcBef>
            <a:spcAft>
              <a:spcPct val="20000"/>
            </a:spcAft>
            <a:buChar char="•"/>
          </a:pPr>
          <a:r>
            <a:rPr lang="en-US" sz="1300" kern="1200" dirty="0"/>
            <a:t>Add capability to search for a particular employee using a Hash table </a:t>
          </a:r>
        </a:p>
        <a:p>
          <a:pPr marL="228600" lvl="2" indent="-114300" algn="l" defTabSz="577850">
            <a:lnSpc>
              <a:spcPct val="90000"/>
            </a:lnSpc>
            <a:spcBef>
              <a:spcPct val="0"/>
            </a:spcBef>
            <a:spcAft>
              <a:spcPct val="20000"/>
            </a:spcAft>
            <a:buChar char="•"/>
          </a:pPr>
          <a:r>
            <a:rPr lang="en-US" sz="1300" kern="1200" dirty="0">
              <a:hlinkClick xmlns:r="http://schemas.openxmlformats.org/officeDocument/2006/relationships" r:id="rId1"/>
            </a:rPr>
            <a:t>https://medium.freecodecamp.org/how-to-implement-a-simple-hash-table-in-javascript-cb3b9c1f2997</a:t>
          </a:r>
          <a:endParaRPr lang="en-US" sz="1300" kern="1200" dirty="0"/>
        </a:p>
        <a:p>
          <a:pPr marL="228600" lvl="2" indent="-114300" algn="l" defTabSz="577850">
            <a:lnSpc>
              <a:spcPct val="90000"/>
            </a:lnSpc>
            <a:spcBef>
              <a:spcPct val="0"/>
            </a:spcBef>
            <a:spcAft>
              <a:spcPct val="20000"/>
            </a:spcAft>
            <a:buChar char="•"/>
          </a:pPr>
          <a:r>
            <a:rPr lang="en-US" sz="1300" kern="1200" dirty="0"/>
            <a:t>Read the difference between Object, map, </a:t>
          </a:r>
          <a:r>
            <a:rPr lang="en-US" sz="1300" kern="1200" dirty="0" err="1"/>
            <a:t>HashMap</a:t>
          </a:r>
          <a:r>
            <a:rPr lang="en-US" sz="1300" kern="1200" dirty="0"/>
            <a:t> in JavaScript</a:t>
          </a:r>
        </a:p>
        <a:p>
          <a:pPr marL="114300" lvl="1" indent="-114300" algn="l" defTabSz="577850">
            <a:lnSpc>
              <a:spcPct val="90000"/>
            </a:lnSpc>
            <a:spcBef>
              <a:spcPct val="0"/>
            </a:spcBef>
            <a:spcAft>
              <a:spcPct val="20000"/>
            </a:spcAft>
            <a:buChar char="•"/>
          </a:pPr>
          <a:r>
            <a:rPr lang="en-US" sz="1300" kern="1200" dirty="0"/>
            <a:t>Use a random access file to store employee information</a:t>
          </a:r>
        </a:p>
        <a:p>
          <a:pPr marL="114300" lvl="1" indent="-114300" algn="l" defTabSz="577850">
            <a:lnSpc>
              <a:spcPct val="90000"/>
            </a:lnSpc>
            <a:spcBef>
              <a:spcPct val="0"/>
            </a:spcBef>
            <a:spcAft>
              <a:spcPct val="20000"/>
            </a:spcAft>
            <a:buChar char="•"/>
          </a:pPr>
          <a:r>
            <a:rPr lang="en-US" sz="1300" kern="1200" dirty="0"/>
            <a:t>Add capability to search for a particular employee in the random access file using a simple index using an in=memory Hash table</a:t>
          </a:r>
        </a:p>
        <a:p>
          <a:pPr marL="114300" lvl="1" indent="-114300" algn="l" defTabSz="577850">
            <a:lnSpc>
              <a:spcPct val="90000"/>
            </a:lnSpc>
            <a:spcBef>
              <a:spcPct val="0"/>
            </a:spcBef>
            <a:spcAft>
              <a:spcPct val="20000"/>
            </a:spcAft>
            <a:buChar char="•"/>
          </a:pPr>
          <a:r>
            <a:rPr lang="en-US" sz="1300" kern="1200" dirty="0"/>
            <a:t>Read the differences between different database indexing mechanisms</a:t>
          </a:r>
        </a:p>
        <a:p>
          <a:pPr marL="228600" lvl="2" indent="-114300" algn="l" defTabSz="577850">
            <a:lnSpc>
              <a:spcPct val="90000"/>
            </a:lnSpc>
            <a:spcBef>
              <a:spcPct val="0"/>
            </a:spcBef>
            <a:spcAft>
              <a:spcPct val="20000"/>
            </a:spcAft>
            <a:buChar char="•"/>
          </a:pPr>
          <a:r>
            <a:rPr lang="en-US" sz="1300" kern="1200" dirty="0">
              <a:hlinkClick xmlns:r="http://schemas.openxmlformats.org/officeDocument/2006/relationships" r:id="rId2"/>
            </a:rPr>
            <a:t>https://en.wikipedia.org/wiki/Database_index</a:t>
          </a:r>
          <a:endParaRPr lang="en-US" sz="1300" kern="1200" dirty="0"/>
        </a:p>
        <a:p>
          <a:pPr marL="114300" lvl="1" indent="-114300" algn="l" defTabSz="577850">
            <a:lnSpc>
              <a:spcPct val="90000"/>
            </a:lnSpc>
            <a:spcBef>
              <a:spcPct val="0"/>
            </a:spcBef>
            <a:spcAft>
              <a:spcPct val="20000"/>
            </a:spcAft>
            <a:buChar char="•"/>
          </a:pPr>
          <a:r>
            <a:rPr lang="en-US" sz="1300" kern="1200" dirty="0"/>
            <a:t>Implement Merge Sort and binary search for the employee records</a:t>
          </a:r>
        </a:p>
      </dsp:txBody>
      <dsp:txXfrm>
        <a:off x="0" y="281112"/>
        <a:ext cx="8153400" cy="2819536"/>
      </dsp:txXfrm>
    </dsp:sp>
    <dsp:sp modelId="{46D43071-C761-47B9-B977-3C1563DACDB5}">
      <dsp:nvSpPr>
        <dsp:cNvPr id="0" name=""/>
        <dsp:cNvSpPr/>
      </dsp:nvSpPr>
      <dsp:spPr>
        <a:xfrm>
          <a:off x="0" y="3097179"/>
          <a:ext cx="8153400" cy="942910"/>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solidFill>
                <a:schemeClr val="bg2">
                  <a:lumMod val="10000"/>
                </a:schemeClr>
              </a:solidFill>
            </a:rPr>
            <a:t>Ensure for the above code, you are handling all situations (E.g. Search element not in list of employees). Make sure that at each step you are logging the processing being done in the application</a:t>
          </a:r>
          <a:r>
            <a:rPr lang="en-US" sz="1700" kern="1200" dirty="0"/>
            <a:t>.</a:t>
          </a:r>
        </a:p>
      </dsp:txBody>
      <dsp:txXfrm>
        <a:off x="46029" y="3143208"/>
        <a:ext cx="8061342" cy="85085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158713"/>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t>Exercises </a:t>
          </a:r>
        </a:p>
      </dsp:txBody>
      <dsp:txXfrm>
        <a:off x="7748" y="7748"/>
        <a:ext cx="8137904" cy="143217"/>
      </dsp:txXfrm>
    </dsp:sp>
    <dsp:sp modelId="{AA89B326-56FA-412B-A913-C6B0240A88D6}">
      <dsp:nvSpPr>
        <dsp:cNvPr id="0" name=""/>
        <dsp:cNvSpPr/>
      </dsp:nvSpPr>
      <dsp:spPr>
        <a:xfrm>
          <a:off x="0" y="92627"/>
          <a:ext cx="8153400" cy="3765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15240" rIns="85344" bIns="15240" numCol="1" spcCol="1270" anchor="t" anchorCtr="0">
          <a:noAutofit/>
        </a:bodyPr>
        <a:lstStyle/>
        <a:p>
          <a:pPr marL="114300" lvl="1" indent="-114300" algn="l" defTabSz="533400">
            <a:lnSpc>
              <a:spcPct val="90000"/>
            </a:lnSpc>
            <a:spcBef>
              <a:spcPct val="0"/>
            </a:spcBef>
            <a:spcAft>
              <a:spcPct val="20000"/>
            </a:spcAft>
            <a:buChar char="•"/>
          </a:pPr>
          <a:endParaRPr lang="en-US" sz="1200" kern="1200" dirty="0"/>
        </a:p>
        <a:p>
          <a:pPr marL="114300" lvl="1" indent="-114300" algn="l" defTabSz="533400">
            <a:lnSpc>
              <a:spcPct val="90000"/>
            </a:lnSpc>
            <a:spcBef>
              <a:spcPct val="0"/>
            </a:spcBef>
            <a:spcAft>
              <a:spcPct val="20000"/>
            </a:spcAft>
            <a:buChar char="•"/>
          </a:pPr>
          <a:r>
            <a:rPr lang="en-US" sz="1200" kern="1200" dirty="0"/>
            <a:t>Install Node and </a:t>
          </a:r>
          <a:r>
            <a:rPr lang="en-US" sz="1200" kern="1200" dirty="0" err="1"/>
            <a:t>npm</a:t>
          </a:r>
          <a:r>
            <a:rPr lang="en-US" sz="1200" kern="1200" dirty="0"/>
            <a:t> - </a:t>
          </a:r>
          <a:r>
            <a:rPr lang="en-US" sz="1200" kern="1200" dirty="0">
              <a:hlinkClick xmlns:r="http://schemas.openxmlformats.org/officeDocument/2006/relationships" r:id="rId1"/>
            </a:rPr>
            <a:t>https://blog.teamtreehouse.com/install-node-js-npm-windows</a:t>
          </a:r>
          <a:endParaRPr lang="en-US" sz="1200" kern="1200" dirty="0"/>
        </a:p>
        <a:p>
          <a:pPr marL="114300" lvl="1" indent="-114300" algn="l" defTabSz="533400">
            <a:lnSpc>
              <a:spcPct val="90000"/>
            </a:lnSpc>
            <a:spcBef>
              <a:spcPct val="0"/>
            </a:spcBef>
            <a:spcAft>
              <a:spcPct val="20000"/>
            </a:spcAft>
            <a:buChar char="•"/>
          </a:pPr>
          <a:r>
            <a:rPr lang="en-US" sz="1200" kern="1200" dirty="0">
              <a:hlinkClick xmlns:r="http://schemas.openxmlformats.org/officeDocument/2006/relationships" r:id="rId2"/>
            </a:rPr>
            <a:t>https://www.youtube.com/watch?v=TlB_eWDSMt4</a:t>
          </a:r>
          <a:endParaRPr lang="en-US" sz="1200" kern="1200" dirty="0"/>
        </a:p>
        <a:p>
          <a:pPr marL="114300" lvl="1" indent="-114300" algn="l" defTabSz="533400">
            <a:lnSpc>
              <a:spcPct val="90000"/>
            </a:lnSpc>
            <a:spcBef>
              <a:spcPct val="0"/>
            </a:spcBef>
            <a:spcAft>
              <a:spcPct val="20000"/>
            </a:spcAft>
            <a:buChar char="•"/>
          </a:pPr>
          <a:r>
            <a:rPr lang="en-US" sz="1200" kern="1200" dirty="0"/>
            <a:t>Pluralsight and LinkedIn have courses on NodeJS and NPM</a:t>
          </a:r>
        </a:p>
        <a:p>
          <a:pPr marL="114300" lvl="1" indent="-114300" algn="l" defTabSz="533400">
            <a:lnSpc>
              <a:spcPct val="90000"/>
            </a:lnSpc>
            <a:spcBef>
              <a:spcPct val="0"/>
            </a:spcBef>
            <a:spcAft>
              <a:spcPct val="20000"/>
            </a:spcAft>
            <a:buChar char="•"/>
          </a:pPr>
          <a:r>
            <a:rPr lang="en-US" sz="1200" kern="1200" dirty="0"/>
            <a:t>Use NodeJS to write a simple calculator module for addition, subtraction, multiplication and division of two numbers</a:t>
          </a:r>
        </a:p>
        <a:p>
          <a:pPr marL="114300" lvl="1" indent="-114300" algn="l" defTabSz="533400">
            <a:lnSpc>
              <a:spcPct val="90000"/>
            </a:lnSpc>
            <a:spcBef>
              <a:spcPct val="0"/>
            </a:spcBef>
            <a:spcAft>
              <a:spcPct val="20000"/>
            </a:spcAft>
            <a:buChar char="•"/>
          </a:pPr>
          <a:r>
            <a:rPr lang="en-US" sz="1200" kern="1200" dirty="0"/>
            <a:t>Simplify the employee code you have written into modules (each module focuses on one functionality e.g. File operations)</a:t>
          </a:r>
        </a:p>
        <a:p>
          <a:pPr marL="114300" lvl="1" indent="-114300" algn="l" defTabSz="533400">
            <a:lnSpc>
              <a:spcPct val="90000"/>
            </a:lnSpc>
            <a:spcBef>
              <a:spcPct val="0"/>
            </a:spcBef>
            <a:spcAft>
              <a:spcPct val="20000"/>
            </a:spcAft>
            <a:buChar char="•"/>
          </a:pPr>
          <a:r>
            <a:rPr lang="en-US" sz="1200" kern="1200" dirty="0"/>
            <a:t>Use Jest framework for unit testing</a:t>
          </a:r>
        </a:p>
        <a:p>
          <a:pPr marL="228600" lvl="2" indent="-114300" algn="l" defTabSz="533400">
            <a:lnSpc>
              <a:spcPct val="90000"/>
            </a:lnSpc>
            <a:spcBef>
              <a:spcPct val="0"/>
            </a:spcBef>
            <a:spcAft>
              <a:spcPct val="20000"/>
            </a:spcAft>
            <a:buChar char="•"/>
          </a:pPr>
          <a:r>
            <a:rPr lang="en-US" sz="1200" kern="1200" dirty="0"/>
            <a:t>  Jest Framework - </a:t>
          </a:r>
          <a:r>
            <a:rPr lang="en-US" sz="1200" kern="1200" dirty="0">
              <a:hlinkClick xmlns:r="http://schemas.openxmlformats.org/officeDocument/2006/relationships" r:id="rId3"/>
            </a:rPr>
            <a:t>https://jestjs.io/docs/en/getting-started.html</a:t>
          </a:r>
          <a:endParaRPr lang="en-US" sz="1200" kern="1200" dirty="0"/>
        </a:p>
        <a:p>
          <a:pPr marL="228600" lvl="2" indent="-114300" algn="l" defTabSz="533400">
            <a:lnSpc>
              <a:spcPct val="90000"/>
            </a:lnSpc>
            <a:spcBef>
              <a:spcPct val="0"/>
            </a:spcBef>
            <a:spcAft>
              <a:spcPct val="20000"/>
            </a:spcAft>
            <a:buChar char="•"/>
          </a:pPr>
          <a:r>
            <a:rPr lang="en-US" sz="1200" kern="1200" dirty="0"/>
            <a:t> How to use Jest - </a:t>
          </a:r>
          <a:r>
            <a:rPr lang="en-US" sz="1200" kern="1200" dirty="0">
              <a:hlinkClick xmlns:r="http://schemas.openxmlformats.org/officeDocument/2006/relationships" r:id="rId4"/>
            </a:rPr>
            <a:t>https://www.xoriant.com/blog/product-engineering/jest-fast-furious-unit-testing-framework.html </a:t>
          </a:r>
          <a:r>
            <a:rPr lang="en-US" sz="1200" kern="1200" dirty="0"/>
            <a:t> </a:t>
          </a:r>
        </a:p>
        <a:p>
          <a:pPr marL="114300" lvl="1" indent="-114300" algn="l" defTabSz="533400">
            <a:lnSpc>
              <a:spcPct val="90000"/>
            </a:lnSpc>
            <a:spcBef>
              <a:spcPct val="0"/>
            </a:spcBef>
            <a:spcAft>
              <a:spcPct val="20000"/>
            </a:spcAft>
            <a:buChar char="•"/>
          </a:pPr>
          <a:r>
            <a:rPr lang="en-US" sz="1200" kern="1200" dirty="0"/>
            <a:t>Unit test the operations in the Calculator module</a:t>
          </a:r>
        </a:p>
        <a:p>
          <a:pPr marL="114300" lvl="1" indent="-114300" algn="l" defTabSz="533400">
            <a:lnSpc>
              <a:spcPct val="90000"/>
            </a:lnSpc>
            <a:spcBef>
              <a:spcPct val="0"/>
            </a:spcBef>
            <a:spcAft>
              <a:spcPct val="20000"/>
            </a:spcAft>
            <a:buChar char="•"/>
          </a:pPr>
          <a:r>
            <a:rPr lang="en-US" sz="1200" kern="1200" dirty="0"/>
            <a:t>Write unit test for the capability to search for a particular employee using a Hash table.  Make sure the code coverage is 90% or above.</a:t>
          </a:r>
        </a:p>
        <a:p>
          <a:pPr marL="114300" lvl="1" indent="-114300" algn="l" defTabSz="533400">
            <a:lnSpc>
              <a:spcPct val="90000"/>
            </a:lnSpc>
            <a:spcBef>
              <a:spcPct val="0"/>
            </a:spcBef>
            <a:spcAft>
              <a:spcPct val="20000"/>
            </a:spcAft>
            <a:buChar char="•"/>
          </a:pPr>
          <a:r>
            <a:rPr lang="en-US" sz="1200" kern="1200" dirty="0"/>
            <a:t> Write unit test for the capability to search for a particular employee in the random access file using a simple index using an in-memory Hash table.  Make sure the code coverage is 90% or above</a:t>
          </a:r>
        </a:p>
        <a:p>
          <a:pPr marL="114300" lvl="1" indent="-114300" algn="l" defTabSz="533400">
            <a:lnSpc>
              <a:spcPct val="90000"/>
            </a:lnSpc>
            <a:spcBef>
              <a:spcPct val="0"/>
            </a:spcBef>
            <a:spcAft>
              <a:spcPct val="20000"/>
            </a:spcAft>
            <a:buChar char="•"/>
          </a:pPr>
          <a:r>
            <a:rPr lang="en-US" sz="1200" kern="1200" dirty="0"/>
            <a:t> Modify the above example by mocking the search service</a:t>
          </a:r>
        </a:p>
      </dsp:txBody>
      <dsp:txXfrm>
        <a:off x="0" y="92627"/>
        <a:ext cx="8153400" cy="3765804"/>
      </dsp:txXfrm>
    </dsp:sp>
    <dsp:sp modelId="{46D43071-C761-47B9-B977-3C1563DACDB5}">
      <dsp:nvSpPr>
        <dsp:cNvPr id="0" name=""/>
        <dsp:cNvSpPr/>
      </dsp:nvSpPr>
      <dsp:spPr>
        <a:xfrm>
          <a:off x="0" y="3661910"/>
          <a:ext cx="8153400" cy="322732"/>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hlinkClick xmlns:r="http://schemas.openxmlformats.org/officeDocument/2006/relationships" r:id="rId5"/>
            </a:rPr>
            <a:t>Some  free books on NodeJS https://devfreebooks.github.io/nodejs/</a:t>
          </a:r>
          <a:endParaRPr lang="en-US" sz="1400" b="1" kern="1200" dirty="0"/>
        </a:p>
      </dsp:txBody>
      <dsp:txXfrm>
        <a:off x="15754" y="3677664"/>
        <a:ext cx="8121892" cy="29122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154965"/>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t>Exercises </a:t>
          </a:r>
        </a:p>
      </dsp:txBody>
      <dsp:txXfrm>
        <a:off x="7565" y="7565"/>
        <a:ext cx="8138270" cy="139835"/>
      </dsp:txXfrm>
    </dsp:sp>
    <dsp:sp modelId="{AA89B326-56FA-412B-A913-C6B0240A88D6}">
      <dsp:nvSpPr>
        <dsp:cNvPr id="0" name=""/>
        <dsp:cNvSpPr/>
      </dsp:nvSpPr>
      <dsp:spPr>
        <a:xfrm>
          <a:off x="0" y="90901"/>
          <a:ext cx="8153400" cy="37762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15240" rIns="85344" bIns="15240" numCol="1" spcCol="1270" anchor="t" anchorCtr="0">
          <a:noAutofit/>
        </a:bodyPr>
        <a:lstStyle/>
        <a:p>
          <a:pPr marL="114300" lvl="1" indent="0" algn="l" defTabSz="533400">
            <a:lnSpc>
              <a:spcPct val="90000"/>
            </a:lnSpc>
            <a:spcBef>
              <a:spcPct val="0"/>
            </a:spcBef>
            <a:spcAft>
              <a:spcPct val="20000"/>
            </a:spcAft>
            <a:buChar char="•"/>
          </a:pPr>
          <a:endParaRPr lang="en-US" sz="1200" kern="1200" dirty="0"/>
        </a:p>
        <a:p>
          <a:pPr marL="114300" lvl="1" indent="-114300" algn="l" defTabSz="533400">
            <a:lnSpc>
              <a:spcPct val="90000"/>
            </a:lnSpc>
            <a:spcBef>
              <a:spcPct val="0"/>
            </a:spcBef>
            <a:spcAft>
              <a:spcPct val="20000"/>
            </a:spcAft>
            <a:buFontTx/>
            <a:buChar char="•"/>
          </a:pPr>
          <a:r>
            <a:rPr lang="en-US" sz="1200" kern="1200" dirty="0">
              <a:solidFill>
                <a:srgbClr val="757070">
                  <a:hueOff val="0"/>
                  <a:satOff val="0"/>
                  <a:lumOff val="0"/>
                  <a:alphaOff val="0"/>
                </a:srgbClr>
              </a:solidFill>
              <a:latin typeface="Calibri"/>
              <a:ea typeface="+mn-ea"/>
              <a:cs typeface="+mn-cs"/>
            </a:rPr>
            <a:t>Create JavaScript application for below capabilities Application has to be done module wise.  Common module to be created for reuse across functionalities.</a:t>
          </a:r>
        </a:p>
        <a:p>
          <a:pPr marL="114300" lvl="1" indent="0" algn="l" defTabSz="533400">
            <a:lnSpc>
              <a:spcPct val="90000"/>
            </a:lnSpc>
            <a:spcBef>
              <a:spcPct val="0"/>
            </a:spcBef>
            <a:spcAft>
              <a:spcPct val="20000"/>
            </a:spcAft>
            <a:buChar char="•"/>
          </a:pPr>
          <a:r>
            <a:rPr lang="en-US" sz="1200" kern="1200" dirty="0"/>
            <a:t>Create category wise Technology List using Hash table, Search tags to be stored for each technology.  Create operations to Add, Edit and Delete items  in the list.  Duplicate items should not be added in the list.</a:t>
          </a:r>
        </a:p>
        <a:p>
          <a:pPr marL="114300" lvl="1" indent="0" algn="l" defTabSz="533400">
            <a:lnSpc>
              <a:spcPct val="90000"/>
            </a:lnSpc>
            <a:spcBef>
              <a:spcPct val="0"/>
            </a:spcBef>
            <a:spcAft>
              <a:spcPct val="20000"/>
            </a:spcAft>
            <a:buChar char="•"/>
          </a:pPr>
          <a:r>
            <a:rPr lang="en-US" sz="1200" kern="1200" dirty="0"/>
            <a:t>Add operations</a:t>
          </a:r>
        </a:p>
        <a:p>
          <a:pPr marL="228600" lvl="2" indent="0" algn="l" defTabSz="533400">
            <a:lnSpc>
              <a:spcPct val="90000"/>
            </a:lnSpc>
            <a:spcBef>
              <a:spcPct val="0"/>
            </a:spcBef>
            <a:spcAft>
              <a:spcPct val="20000"/>
            </a:spcAft>
            <a:buChar char="•"/>
          </a:pPr>
          <a:r>
            <a:rPr lang="en-US" sz="1200" kern="1200" dirty="0"/>
            <a:t> to sort and retrieve 4 records at a time</a:t>
          </a:r>
        </a:p>
        <a:p>
          <a:pPr marL="228600" lvl="2" indent="0" algn="l" defTabSz="533400">
            <a:lnSpc>
              <a:spcPct val="90000"/>
            </a:lnSpc>
            <a:spcBef>
              <a:spcPct val="0"/>
            </a:spcBef>
            <a:spcAft>
              <a:spcPct val="20000"/>
            </a:spcAft>
            <a:buChar char="•"/>
          </a:pPr>
          <a:r>
            <a:rPr lang="en-US" sz="1200" kern="1200" dirty="0"/>
            <a:t>Search technology by category and name and tags,  name search should include partial text as well.  Multiple search results to be retrieved by  category and name sorted order</a:t>
          </a:r>
        </a:p>
        <a:p>
          <a:pPr marL="114300" lvl="1" indent="-114300" algn="l" defTabSz="533400">
            <a:lnSpc>
              <a:spcPct val="90000"/>
            </a:lnSpc>
            <a:spcBef>
              <a:spcPct val="0"/>
            </a:spcBef>
            <a:spcAft>
              <a:spcPct val="20000"/>
            </a:spcAft>
            <a:buChar char="•"/>
          </a:pPr>
          <a:r>
            <a:rPr lang="en-US" sz="1200" kern="1200" dirty="0">
              <a:solidFill>
                <a:srgbClr val="757070">
                  <a:hueOff val="0"/>
                  <a:satOff val="0"/>
                  <a:lumOff val="0"/>
                  <a:alphaOff val="0"/>
                </a:srgbClr>
              </a:solidFill>
              <a:latin typeface="Calibri"/>
              <a:ea typeface="+mn-ea"/>
              <a:cs typeface="+mn-cs"/>
            </a:rPr>
            <a:t>Create unit tests for each of the operations.  Make sure coverage is above 90%</a:t>
          </a:r>
        </a:p>
        <a:p>
          <a:pPr marL="114300" lvl="1" indent="-114300" algn="l" defTabSz="533400">
            <a:lnSpc>
              <a:spcPct val="90000"/>
            </a:lnSpc>
            <a:spcBef>
              <a:spcPct val="0"/>
            </a:spcBef>
            <a:spcAft>
              <a:spcPct val="20000"/>
            </a:spcAft>
            <a:buChar char="•"/>
          </a:pPr>
          <a:r>
            <a:rPr lang="en-US" sz="1200" kern="1200" dirty="0"/>
            <a:t>Also create unit tests by mocking the common module and functions</a:t>
          </a:r>
          <a:endParaRPr lang="en-US" sz="1200" kern="1200" dirty="0">
            <a:solidFill>
              <a:srgbClr val="757070">
                <a:hueOff val="0"/>
                <a:satOff val="0"/>
                <a:lumOff val="0"/>
                <a:alphaOff val="0"/>
              </a:srgbClr>
            </a:solidFill>
            <a:latin typeface="Calibri"/>
            <a:ea typeface="+mn-ea"/>
            <a:cs typeface="+mn-cs"/>
          </a:endParaRPr>
        </a:p>
        <a:p>
          <a:pPr marL="114300" lvl="1" indent="-114300" algn="l" defTabSz="533400">
            <a:lnSpc>
              <a:spcPct val="90000"/>
            </a:lnSpc>
            <a:spcBef>
              <a:spcPct val="0"/>
            </a:spcBef>
            <a:spcAft>
              <a:spcPct val="20000"/>
            </a:spcAft>
            <a:buChar char="•"/>
          </a:pPr>
          <a:endParaRPr lang="en-US" sz="1200" kern="1200" dirty="0">
            <a:solidFill>
              <a:srgbClr val="757070">
                <a:hueOff val="0"/>
                <a:satOff val="0"/>
                <a:lumOff val="0"/>
                <a:alphaOff val="0"/>
              </a:srgbClr>
            </a:solidFill>
            <a:latin typeface="Calibri"/>
            <a:ea typeface="+mn-ea"/>
            <a:cs typeface="+mn-cs"/>
          </a:endParaRPr>
        </a:p>
        <a:p>
          <a:pPr marL="114300" lvl="1" indent="-114300" algn="l" defTabSz="533400">
            <a:lnSpc>
              <a:spcPct val="90000"/>
            </a:lnSpc>
            <a:spcBef>
              <a:spcPct val="0"/>
            </a:spcBef>
            <a:spcAft>
              <a:spcPct val="20000"/>
            </a:spcAft>
            <a:buChar char="•"/>
          </a:pPr>
          <a:r>
            <a:rPr lang="en-US" sz="1200" kern="1200" dirty="0">
              <a:solidFill>
                <a:srgbClr val="757070">
                  <a:hueOff val="0"/>
                  <a:satOff val="0"/>
                  <a:lumOff val="0"/>
                  <a:alphaOff val="0"/>
                </a:srgbClr>
              </a:solidFill>
              <a:latin typeface="Calibri"/>
              <a:ea typeface="+mn-ea"/>
              <a:cs typeface="+mn-cs"/>
            </a:rPr>
            <a:t> U</a:t>
          </a:r>
          <a:r>
            <a:rPr lang="en-US" sz="1200" kern="1200" dirty="0"/>
            <a:t>sing JavaScript and Node.js – </a:t>
          </a:r>
          <a:r>
            <a:rPr lang="en-US" sz="1200" kern="1200" dirty="0">
              <a:solidFill>
                <a:srgbClr val="757070">
                  <a:hueOff val="0"/>
                  <a:satOff val="0"/>
                  <a:lumOff val="0"/>
                  <a:alphaOff val="0"/>
                </a:srgbClr>
              </a:solidFill>
              <a:latin typeface="Calibri"/>
              <a:ea typeface="+mn-ea"/>
              <a:cs typeface="+mn-cs"/>
            </a:rPr>
            <a:t>Create program to convert the given folder to JSON.  Each node in JSON contains type, name, path and children.  Also create capability to search file using this JSON.  Make sure to handle the scenario if file is not available.  Also ensure proper error handling.</a:t>
          </a:r>
        </a:p>
        <a:p>
          <a:pPr marL="114300" lvl="1" indent="0" algn="l" defTabSz="533400">
            <a:lnSpc>
              <a:spcPct val="90000"/>
            </a:lnSpc>
            <a:spcBef>
              <a:spcPct val="0"/>
            </a:spcBef>
            <a:spcAft>
              <a:spcPct val="20000"/>
            </a:spcAft>
            <a:buChar char="•"/>
          </a:pPr>
          <a:endParaRPr lang="en-US" sz="1200" kern="1200" dirty="0"/>
        </a:p>
      </dsp:txBody>
      <dsp:txXfrm>
        <a:off x="0" y="90901"/>
        <a:ext cx="8153400" cy="3776254"/>
      </dsp:txXfrm>
    </dsp:sp>
    <dsp:sp modelId="{46D43071-C761-47B9-B977-3C1563DACDB5}">
      <dsp:nvSpPr>
        <dsp:cNvPr id="0" name=""/>
        <dsp:cNvSpPr/>
      </dsp:nvSpPr>
      <dsp:spPr>
        <a:xfrm>
          <a:off x="0" y="3907604"/>
          <a:ext cx="8153400" cy="315111"/>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hlinkClick xmlns:r="http://schemas.openxmlformats.org/officeDocument/2006/relationships" r:id="rId1"/>
            </a:rPr>
            <a:t>Some  free books on NodeJS https://devfreebooks.github.io/nodejs/</a:t>
          </a:r>
          <a:endParaRPr lang="en-US" sz="1400" b="1" kern="1200" dirty="0"/>
        </a:p>
      </dsp:txBody>
      <dsp:txXfrm>
        <a:off x="15382" y="3922986"/>
        <a:ext cx="8122636" cy="284347"/>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5E3B7-AD69-4025-80E9-3838DE75D781}">
      <dsp:nvSpPr>
        <dsp:cNvPr id="0" name=""/>
        <dsp:cNvSpPr/>
      </dsp:nvSpPr>
      <dsp:spPr>
        <a:xfrm>
          <a:off x="0" y="0"/>
          <a:ext cx="8153400" cy="201810"/>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Exercises</a:t>
          </a:r>
          <a:r>
            <a:rPr lang="en-US" sz="1400" b="1" kern="1200" dirty="0"/>
            <a:t> </a:t>
          </a:r>
        </a:p>
      </dsp:txBody>
      <dsp:txXfrm>
        <a:off x="9852" y="9852"/>
        <a:ext cx="8133696" cy="182106"/>
      </dsp:txXfrm>
    </dsp:sp>
    <dsp:sp modelId="{AA89B326-56FA-412B-A913-C6B0240A88D6}">
      <dsp:nvSpPr>
        <dsp:cNvPr id="0" name=""/>
        <dsp:cNvSpPr/>
      </dsp:nvSpPr>
      <dsp:spPr>
        <a:xfrm>
          <a:off x="0" y="118584"/>
          <a:ext cx="8153400" cy="36334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15240" rIns="85344" bIns="15240" numCol="1" spcCol="1270" anchor="t" anchorCtr="0">
          <a:noAutofit/>
        </a:bodyPr>
        <a:lstStyle/>
        <a:p>
          <a:pPr marL="114300" lvl="1" indent="0" algn="l" defTabSz="533400">
            <a:lnSpc>
              <a:spcPct val="90000"/>
            </a:lnSpc>
            <a:spcBef>
              <a:spcPct val="0"/>
            </a:spcBef>
            <a:spcAft>
              <a:spcPct val="20000"/>
            </a:spcAft>
            <a:buChar char="•"/>
          </a:pPr>
          <a:endParaRPr lang="en-US" sz="1200" kern="1200" dirty="0"/>
        </a:p>
        <a:p>
          <a:pPr marL="114300" lvl="1" indent="-114300" algn="l" defTabSz="533400">
            <a:lnSpc>
              <a:spcPct val="90000"/>
            </a:lnSpc>
            <a:spcBef>
              <a:spcPct val="0"/>
            </a:spcBef>
            <a:spcAft>
              <a:spcPct val="20000"/>
            </a:spcAft>
            <a:buFontTx/>
            <a:buChar char="•"/>
          </a:pPr>
          <a:r>
            <a:rPr lang="en-US" sz="1600" kern="1200" dirty="0">
              <a:solidFill>
                <a:srgbClr val="757070">
                  <a:hueOff val="0"/>
                  <a:satOff val="0"/>
                  <a:lumOff val="0"/>
                  <a:alphaOff val="0"/>
                </a:srgbClr>
              </a:solidFill>
              <a:latin typeface="Calibri"/>
              <a:ea typeface="+mn-ea"/>
              <a:cs typeface="+mn-cs"/>
            </a:rPr>
            <a:t> Create a JavaScript application for below capabilities</a:t>
          </a:r>
        </a:p>
        <a:p>
          <a:pPr marL="114300" lvl="1" indent="-114300" algn="l" defTabSz="533400">
            <a:lnSpc>
              <a:spcPct val="90000"/>
            </a:lnSpc>
            <a:spcBef>
              <a:spcPct val="0"/>
            </a:spcBef>
            <a:spcAft>
              <a:spcPct val="20000"/>
            </a:spcAft>
            <a:buFontTx/>
            <a:buChar char="•"/>
          </a:pPr>
          <a:r>
            <a:rPr lang="en-US" sz="1600" kern="1200" dirty="0">
              <a:solidFill>
                <a:srgbClr val="757070">
                  <a:hueOff val="0"/>
                  <a:satOff val="0"/>
                  <a:lumOff val="0"/>
                  <a:alphaOff val="0"/>
                </a:srgbClr>
              </a:solidFill>
              <a:latin typeface="Calibri"/>
              <a:ea typeface="+mn-ea"/>
              <a:cs typeface="+mn-cs"/>
            </a:rPr>
            <a:t> Application has to be done module wise.  Common module to be created for reuse across functionalities.</a:t>
          </a:r>
        </a:p>
        <a:p>
          <a:pPr marL="114300" lvl="1" indent="-114300" algn="l" defTabSz="533400">
            <a:lnSpc>
              <a:spcPct val="90000"/>
            </a:lnSpc>
            <a:spcBef>
              <a:spcPct val="0"/>
            </a:spcBef>
            <a:spcAft>
              <a:spcPct val="20000"/>
            </a:spcAft>
            <a:buFontTx/>
            <a:buChar char="•"/>
          </a:pPr>
          <a:r>
            <a:rPr lang="en-US" sz="1600" kern="1200" dirty="0">
              <a:solidFill>
                <a:srgbClr val="757070">
                  <a:hueOff val="0"/>
                  <a:satOff val="0"/>
                  <a:lumOff val="0"/>
                  <a:alphaOff val="0"/>
                </a:srgbClr>
              </a:solidFill>
              <a:latin typeface="Calibri"/>
              <a:ea typeface="+mn-ea"/>
              <a:cs typeface="+mn-cs"/>
            </a:rPr>
            <a:t>T</a:t>
          </a:r>
          <a:r>
            <a:rPr lang="en-US" sz="1600" i="1" kern="1200" dirty="0"/>
            <a:t>he application is an e-com site</a:t>
          </a:r>
          <a:endParaRPr lang="en-US" sz="1600" kern="1200" dirty="0">
            <a:solidFill>
              <a:srgbClr val="757070">
                <a:hueOff val="0"/>
                <a:satOff val="0"/>
                <a:lumOff val="0"/>
                <a:alphaOff val="0"/>
              </a:srgbClr>
            </a:solidFill>
            <a:latin typeface="Calibri"/>
            <a:ea typeface="+mn-ea"/>
            <a:cs typeface="+mn-cs"/>
          </a:endParaRPr>
        </a:p>
        <a:p>
          <a:pPr marL="114300" lvl="1" indent="0" algn="l" defTabSz="533400">
            <a:lnSpc>
              <a:spcPct val="90000"/>
            </a:lnSpc>
            <a:spcBef>
              <a:spcPct val="0"/>
            </a:spcBef>
            <a:spcAft>
              <a:spcPct val="20000"/>
            </a:spcAft>
            <a:buChar char="•"/>
          </a:pPr>
          <a:r>
            <a:rPr lang="en-US" sz="1600" i="1" kern="1200" dirty="0"/>
            <a:t> It has 4 entities – Customer, order, product, promotion ( which products have a discount from when to when)</a:t>
          </a:r>
        </a:p>
        <a:p>
          <a:pPr marL="114300" lvl="1" indent="0" algn="l" defTabSz="533400">
            <a:lnSpc>
              <a:spcPct val="90000"/>
            </a:lnSpc>
            <a:spcBef>
              <a:spcPct val="0"/>
            </a:spcBef>
            <a:spcAft>
              <a:spcPct val="20000"/>
            </a:spcAft>
            <a:buChar char="•"/>
          </a:pPr>
          <a:r>
            <a:rPr lang="en-US" sz="1600" i="1" kern="1200" dirty="0"/>
            <a:t> Customers can order/cancel a list of products (assume you have infinite inventory)</a:t>
          </a:r>
        </a:p>
        <a:p>
          <a:pPr marL="114300" lvl="1" indent="0" algn="l" defTabSz="533400">
            <a:lnSpc>
              <a:spcPct val="90000"/>
            </a:lnSpc>
            <a:spcBef>
              <a:spcPct val="0"/>
            </a:spcBef>
            <a:spcAft>
              <a:spcPct val="20000"/>
            </a:spcAft>
            <a:buChar char="•"/>
          </a:pPr>
          <a:r>
            <a:rPr lang="en-US" sz="1600" i="1" kern="1200" dirty="0"/>
            <a:t> Promotions need to be applied appropriately on the orders</a:t>
          </a:r>
        </a:p>
        <a:p>
          <a:pPr marL="114300" lvl="1" indent="0" algn="l" defTabSz="533400">
            <a:lnSpc>
              <a:spcPct val="90000"/>
            </a:lnSpc>
            <a:spcBef>
              <a:spcPct val="0"/>
            </a:spcBef>
            <a:spcAft>
              <a:spcPct val="20000"/>
            </a:spcAft>
            <a:buChar char="•"/>
          </a:pPr>
          <a:r>
            <a:rPr lang="en-US" sz="1600" i="1" kern="1200" dirty="0"/>
            <a:t> Customers can search by their orders</a:t>
          </a:r>
        </a:p>
        <a:p>
          <a:pPr marL="114300" lvl="1" indent="0" algn="l" defTabSz="533400">
            <a:lnSpc>
              <a:spcPct val="90000"/>
            </a:lnSpc>
            <a:spcBef>
              <a:spcPct val="0"/>
            </a:spcBef>
            <a:spcAft>
              <a:spcPct val="20000"/>
            </a:spcAft>
            <a:buChar char="•"/>
          </a:pPr>
          <a:r>
            <a:rPr lang="en-US" sz="1600" i="1" kern="1200" dirty="0"/>
            <a:t> Employees can add/remove/modify products, promotions</a:t>
          </a:r>
        </a:p>
        <a:p>
          <a:pPr marL="114300" lvl="1" indent="-114300" algn="l" defTabSz="533400">
            <a:lnSpc>
              <a:spcPct val="90000"/>
            </a:lnSpc>
            <a:spcBef>
              <a:spcPct val="0"/>
            </a:spcBef>
            <a:spcAft>
              <a:spcPct val="20000"/>
            </a:spcAft>
            <a:buChar char="•"/>
          </a:pPr>
          <a:r>
            <a:rPr lang="en-US" sz="1600" kern="1200" dirty="0">
              <a:solidFill>
                <a:srgbClr val="757070">
                  <a:hueOff val="0"/>
                  <a:satOff val="0"/>
                  <a:lumOff val="0"/>
                  <a:alphaOff val="0"/>
                </a:srgbClr>
              </a:solidFill>
              <a:latin typeface="Calibri"/>
              <a:ea typeface="+mn-ea"/>
              <a:cs typeface="+mn-cs"/>
            </a:rPr>
            <a:t>Create unit tests for each of the operations.  Make sure coverage is above 90%</a:t>
          </a:r>
        </a:p>
        <a:p>
          <a:pPr marL="114300" lvl="1" indent="-114300" algn="l" defTabSz="533400">
            <a:lnSpc>
              <a:spcPct val="90000"/>
            </a:lnSpc>
            <a:spcBef>
              <a:spcPct val="0"/>
            </a:spcBef>
            <a:spcAft>
              <a:spcPct val="20000"/>
            </a:spcAft>
            <a:buChar char="•"/>
          </a:pPr>
          <a:r>
            <a:rPr lang="en-US" sz="1600" kern="1200" dirty="0"/>
            <a:t>Also create unit tests by mocking the common module and functions</a:t>
          </a:r>
          <a:endParaRPr lang="en-US" sz="1600" kern="1200" dirty="0">
            <a:solidFill>
              <a:srgbClr val="757070">
                <a:hueOff val="0"/>
                <a:satOff val="0"/>
                <a:lumOff val="0"/>
                <a:alphaOff val="0"/>
              </a:srgbClr>
            </a:solidFill>
            <a:latin typeface="Calibri"/>
            <a:ea typeface="+mn-ea"/>
            <a:cs typeface="+mn-cs"/>
          </a:endParaRPr>
        </a:p>
        <a:p>
          <a:pPr marL="114300" lvl="1" indent="-114300" algn="l" defTabSz="533400">
            <a:lnSpc>
              <a:spcPct val="90000"/>
            </a:lnSpc>
            <a:spcBef>
              <a:spcPct val="0"/>
            </a:spcBef>
            <a:spcAft>
              <a:spcPct val="20000"/>
            </a:spcAft>
            <a:buChar char="•"/>
          </a:pPr>
          <a:endParaRPr lang="en-US" sz="1200" kern="1200" dirty="0">
            <a:solidFill>
              <a:srgbClr val="757070">
                <a:hueOff val="0"/>
                <a:satOff val="0"/>
                <a:lumOff val="0"/>
                <a:alphaOff val="0"/>
              </a:srgbClr>
            </a:solidFill>
            <a:latin typeface="Calibri"/>
            <a:ea typeface="+mn-ea"/>
            <a:cs typeface="+mn-cs"/>
          </a:endParaRPr>
        </a:p>
      </dsp:txBody>
      <dsp:txXfrm>
        <a:off x="0" y="118584"/>
        <a:ext cx="8153400" cy="3633446"/>
      </dsp:txXfrm>
    </dsp:sp>
    <dsp:sp modelId="{46D43071-C761-47B9-B977-3C1563DACDB5}">
      <dsp:nvSpPr>
        <dsp:cNvPr id="0" name=""/>
        <dsp:cNvSpPr/>
      </dsp:nvSpPr>
      <dsp:spPr>
        <a:xfrm>
          <a:off x="0" y="3812906"/>
          <a:ext cx="8153400" cy="410368"/>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hlinkClick xmlns:r="http://schemas.openxmlformats.org/officeDocument/2006/relationships" r:id="rId1"/>
            </a:rPr>
            <a:t>Some  free books on NodeJS https://devfreebooks.github.io/nodejs/</a:t>
          </a:r>
          <a:endParaRPr lang="en-US" sz="1400" b="1" kern="1200" dirty="0"/>
        </a:p>
      </dsp:txBody>
      <dsp:txXfrm>
        <a:off x="20033" y="3832939"/>
        <a:ext cx="8113334" cy="3703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488EE8-569A-4C76-884A-3BEF209DC5C6}">
      <dsp:nvSpPr>
        <dsp:cNvPr id="0" name=""/>
        <dsp:cNvSpPr/>
      </dsp:nvSpPr>
      <dsp:spPr>
        <a:xfrm>
          <a:off x="2947" y="99853"/>
          <a:ext cx="798038" cy="680826"/>
        </a:xfrm>
        <a:prstGeom prst="roundRect">
          <a:avLst>
            <a:gd name="adj" fmla="val 10000"/>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1</a:t>
          </a:r>
        </a:p>
      </dsp:txBody>
      <dsp:txXfrm>
        <a:off x="22888" y="119794"/>
        <a:ext cx="758156" cy="640944"/>
      </dsp:txXfrm>
    </dsp:sp>
    <dsp:sp modelId="{B220EE54-11FE-4127-9F4F-6C1AEFB24312}">
      <dsp:nvSpPr>
        <dsp:cNvPr id="0" name=""/>
        <dsp:cNvSpPr/>
      </dsp:nvSpPr>
      <dsp:spPr>
        <a:xfrm>
          <a:off x="880790" y="341310"/>
          <a:ext cx="169184" cy="197913"/>
        </a:xfrm>
        <a:prstGeom prst="rightArrow">
          <a:avLst>
            <a:gd name="adj1" fmla="val 60000"/>
            <a:gd name="adj2" fmla="val 50000"/>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880790" y="380893"/>
        <a:ext cx="118429" cy="118747"/>
      </dsp:txXfrm>
    </dsp:sp>
    <dsp:sp modelId="{17F90E85-86AA-42B5-B464-81D75CF402C3}">
      <dsp:nvSpPr>
        <dsp:cNvPr id="0" name=""/>
        <dsp:cNvSpPr/>
      </dsp:nvSpPr>
      <dsp:spPr>
        <a:xfrm>
          <a:off x="1120201" y="99853"/>
          <a:ext cx="798038" cy="680826"/>
        </a:xfrm>
        <a:prstGeom prst="roundRect">
          <a:avLst>
            <a:gd name="adj" fmla="val 10000"/>
          </a:avLst>
        </a:prstGeom>
        <a:solidFill>
          <a:schemeClr val="accent5">
            <a:shade val="80000"/>
            <a:hueOff val="49898"/>
            <a:satOff val="-894"/>
            <a:lumOff val="37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2</a:t>
          </a:r>
        </a:p>
      </dsp:txBody>
      <dsp:txXfrm>
        <a:off x="1140142" y="119794"/>
        <a:ext cx="758156" cy="640944"/>
      </dsp:txXfrm>
    </dsp:sp>
    <dsp:sp modelId="{841D4F21-AF87-4EF6-BAD8-6BCDAD5E9FEB}">
      <dsp:nvSpPr>
        <dsp:cNvPr id="0" name=""/>
        <dsp:cNvSpPr/>
      </dsp:nvSpPr>
      <dsp:spPr>
        <a:xfrm>
          <a:off x="1998044" y="341310"/>
          <a:ext cx="169184" cy="197913"/>
        </a:xfrm>
        <a:prstGeom prst="rightArrow">
          <a:avLst>
            <a:gd name="adj1" fmla="val 60000"/>
            <a:gd name="adj2" fmla="val 50000"/>
          </a:avLst>
        </a:prstGeom>
        <a:solidFill>
          <a:schemeClr val="accent5">
            <a:shade val="90000"/>
            <a:hueOff val="58204"/>
            <a:satOff val="-997"/>
            <a:lumOff val="399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998044" y="380893"/>
        <a:ext cx="118429" cy="118747"/>
      </dsp:txXfrm>
    </dsp:sp>
    <dsp:sp modelId="{0021B693-EF35-400E-822D-6F05DC7C5E13}">
      <dsp:nvSpPr>
        <dsp:cNvPr id="0" name=""/>
        <dsp:cNvSpPr/>
      </dsp:nvSpPr>
      <dsp:spPr>
        <a:xfrm>
          <a:off x="2237455" y="99853"/>
          <a:ext cx="798038" cy="680826"/>
        </a:xfrm>
        <a:prstGeom prst="roundRect">
          <a:avLst>
            <a:gd name="adj" fmla="val 10000"/>
          </a:avLst>
        </a:prstGeom>
        <a:solidFill>
          <a:schemeClr val="accent5">
            <a:shade val="80000"/>
            <a:hueOff val="99795"/>
            <a:satOff val="-1787"/>
            <a:lumOff val="75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3</a:t>
          </a:r>
        </a:p>
      </dsp:txBody>
      <dsp:txXfrm>
        <a:off x="2257396" y="119794"/>
        <a:ext cx="758156" cy="640944"/>
      </dsp:txXfrm>
    </dsp:sp>
    <dsp:sp modelId="{279D3A8D-719E-4E61-B605-4D5D4D7024EB}">
      <dsp:nvSpPr>
        <dsp:cNvPr id="0" name=""/>
        <dsp:cNvSpPr/>
      </dsp:nvSpPr>
      <dsp:spPr>
        <a:xfrm>
          <a:off x="3115298" y="341310"/>
          <a:ext cx="169184" cy="197913"/>
        </a:xfrm>
        <a:prstGeom prst="rightArrow">
          <a:avLst>
            <a:gd name="adj1" fmla="val 60000"/>
            <a:gd name="adj2" fmla="val 50000"/>
          </a:avLst>
        </a:prstGeom>
        <a:solidFill>
          <a:schemeClr val="accent5">
            <a:shade val="90000"/>
            <a:hueOff val="116408"/>
            <a:satOff val="-1994"/>
            <a:lumOff val="798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3115298" y="380893"/>
        <a:ext cx="118429" cy="118747"/>
      </dsp:txXfrm>
    </dsp:sp>
    <dsp:sp modelId="{C0D650CB-F6B3-4DF3-8A7B-3FB2BFF58926}">
      <dsp:nvSpPr>
        <dsp:cNvPr id="0" name=""/>
        <dsp:cNvSpPr/>
      </dsp:nvSpPr>
      <dsp:spPr>
        <a:xfrm>
          <a:off x="3354709" y="99853"/>
          <a:ext cx="798038" cy="680826"/>
        </a:xfrm>
        <a:prstGeom prst="roundRect">
          <a:avLst>
            <a:gd name="adj" fmla="val 10000"/>
          </a:avLst>
        </a:prstGeom>
        <a:solidFill>
          <a:schemeClr val="accent5">
            <a:shade val="80000"/>
            <a:hueOff val="149693"/>
            <a:satOff val="-2681"/>
            <a:lumOff val="113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4</a:t>
          </a:r>
        </a:p>
      </dsp:txBody>
      <dsp:txXfrm>
        <a:off x="3374650" y="119794"/>
        <a:ext cx="758156" cy="640944"/>
      </dsp:txXfrm>
    </dsp:sp>
    <dsp:sp modelId="{3BB20A17-3641-49C2-8A38-7C39A1B585F7}">
      <dsp:nvSpPr>
        <dsp:cNvPr id="0" name=""/>
        <dsp:cNvSpPr/>
      </dsp:nvSpPr>
      <dsp:spPr>
        <a:xfrm>
          <a:off x="4232552" y="341310"/>
          <a:ext cx="169184" cy="197913"/>
        </a:xfrm>
        <a:prstGeom prst="rightArrow">
          <a:avLst>
            <a:gd name="adj1" fmla="val 60000"/>
            <a:gd name="adj2" fmla="val 50000"/>
          </a:avLst>
        </a:prstGeom>
        <a:solidFill>
          <a:schemeClr val="accent5">
            <a:shade val="90000"/>
            <a:hueOff val="174613"/>
            <a:satOff val="-2991"/>
            <a:lumOff val="1198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232552" y="380893"/>
        <a:ext cx="118429" cy="118747"/>
      </dsp:txXfrm>
    </dsp:sp>
    <dsp:sp modelId="{634E77B6-E459-4466-B275-6BBAAAA77A5A}">
      <dsp:nvSpPr>
        <dsp:cNvPr id="0" name=""/>
        <dsp:cNvSpPr/>
      </dsp:nvSpPr>
      <dsp:spPr>
        <a:xfrm>
          <a:off x="4471963" y="99853"/>
          <a:ext cx="798038" cy="680826"/>
        </a:xfrm>
        <a:prstGeom prst="roundRect">
          <a:avLst>
            <a:gd name="adj" fmla="val 10000"/>
          </a:avLst>
        </a:prstGeom>
        <a:solidFill>
          <a:schemeClr val="accent5">
            <a:shade val="80000"/>
            <a:hueOff val="199590"/>
            <a:satOff val="-3575"/>
            <a:lumOff val="1519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5</a:t>
          </a:r>
        </a:p>
      </dsp:txBody>
      <dsp:txXfrm>
        <a:off x="4491904" y="119794"/>
        <a:ext cx="758156" cy="640944"/>
      </dsp:txXfrm>
    </dsp:sp>
    <dsp:sp modelId="{4570E52D-0AC4-45F6-9E45-9FAA1DF0E16B}">
      <dsp:nvSpPr>
        <dsp:cNvPr id="0" name=""/>
        <dsp:cNvSpPr/>
      </dsp:nvSpPr>
      <dsp:spPr>
        <a:xfrm>
          <a:off x="5349806" y="341310"/>
          <a:ext cx="169184" cy="197913"/>
        </a:xfrm>
        <a:prstGeom prst="rightArrow">
          <a:avLst>
            <a:gd name="adj1" fmla="val 60000"/>
            <a:gd name="adj2" fmla="val 50000"/>
          </a:avLst>
        </a:prstGeom>
        <a:solidFill>
          <a:schemeClr val="accent5">
            <a:shade val="90000"/>
            <a:hueOff val="232817"/>
            <a:satOff val="-3987"/>
            <a:lumOff val="1597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349806" y="380893"/>
        <a:ext cx="118429" cy="118747"/>
      </dsp:txXfrm>
    </dsp:sp>
    <dsp:sp modelId="{1D2D1D5C-5915-4CF5-A2B6-C2F9DA1B3751}">
      <dsp:nvSpPr>
        <dsp:cNvPr id="0" name=""/>
        <dsp:cNvSpPr/>
      </dsp:nvSpPr>
      <dsp:spPr>
        <a:xfrm>
          <a:off x="5589217" y="99853"/>
          <a:ext cx="798038" cy="680826"/>
        </a:xfrm>
        <a:prstGeom prst="roundRect">
          <a:avLst>
            <a:gd name="adj" fmla="val 10000"/>
          </a:avLst>
        </a:prstGeom>
        <a:solidFill>
          <a:schemeClr val="accent5">
            <a:shade val="80000"/>
            <a:hueOff val="249488"/>
            <a:satOff val="-4469"/>
            <a:lumOff val="189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6</a:t>
          </a:r>
        </a:p>
      </dsp:txBody>
      <dsp:txXfrm>
        <a:off x="5609158" y="119794"/>
        <a:ext cx="758156" cy="640944"/>
      </dsp:txXfrm>
    </dsp:sp>
    <dsp:sp modelId="{BFA41252-12A5-4C1B-9C35-6DF5AB57BEBA}">
      <dsp:nvSpPr>
        <dsp:cNvPr id="0" name=""/>
        <dsp:cNvSpPr/>
      </dsp:nvSpPr>
      <dsp:spPr>
        <a:xfrm>
          <a:off x="6467060" y="341310"/>
          <a:ext cx="169184" cy="197913"/>
        </a:xfrm>
        <a:prstGeom prst="rightArrow">
          <a:avLst>
            <a:gd name="adj1" fmla="val 60000"/>
            <a:gd name="adj2" fmla="val 50000"/>
          </a:avLst>
        </a:prstGeom>
        <a:solidFill>
          <a:schemeClr val="accent5">
            <a:shade val="90000"/>
            <a:hueOff val="291021"/>
            <a:satOff val="-4984"/>
            <a:lumOff val="1996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6467060" y="380893"/>
        <a:ext cx="118429" cy="118747"/>
      </dsp:txXfrm>
    </dsp:sp>
    <dsp:sp modelId="{C1C6C1AE-CB13-4710-BECF-220B5837B820}">
      <dsp:nvSpPr>
        <dsp:cNvPr id="0" name=""/>
        <dsp:cNvSpPr/>
      </dsp:nvSpPr>
      <dsp:spPr>
        <a:xfrm>
          <a:off x="6706471" y="99853"/>
          <a:ext cx="798038" cy="680826"/>
        </a:xfrm>
        <a:prstGeom prst="roundRect">
          <a:avLst>
            <a:gd name="adj" fmla="val 10000"/>
          </a:avLst>
        </a:prstGeom>
        <a:solidFill>
          <a:schemeClr val="accent5">
            <a:shade val="80000"/>
            <a:hueOff val="299385"/>
            <a:satOff val="-5362"/>
            <a:lumOff val="227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7</a:t>
          </a:r>
        </a:p>
      </dsp:txBody>
      <dsp:txXfrm>
        <a:off x="6726412" y="119794"/>
        <a:ext cx="758156" cy="640944"/>
      </dsp:txXfrm>
    </dsp:sp>
    <dsp:sp modelId="{CECB42B2-F674-4A1B-81A7-39888C0EACB9}">
      <dsp:nvSpPr>
        <dsp:cNvPr id="0" name=""/>
        <dsp:cNvSpPr/>
      </dsp:nvSpPr>
      <dsp:spPr>
        <a:xfrm>
          <a:off x="7584314" y="341310"/>
          <a:ext cx="169184" cy="197913"/>
        </a:xfrm>
        <a:prstGeom prst="rightArrow">
          <a:avLst>
            <a:gd name="adj1" fmla="val 60000"/>
            <a:gd name="adj2" fmla="val 50000"/>
          </a:avLst>
        </a:prstGeom>
        <a:solidFill>
          <a:schemeClr val="accent5">
            <a:shade val="90000"/>
            <a:hueOff val="349225"/>
            <a:satOff val="-5981"/>
            <a:lumOff val="2396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584314" y="380893"/>
        <a:ext cx="118429" cy="118747"/>
      </dsp:txXfrm>
    </dsp:sp>
    <dsp:sp modelId="{5604EB01-0E23-49C1-B8C1-FB032C568EC2}">
      <dsp:nvSpPr>
        <dsp:cNvPr id="0" name=""/>
        <dsp:cNvSpPr/>
      </dsp:nvSpPr>
      <dsp:spPr>
        <a:xfrm>
          <a:off x="7823725" y="99853"/>
          <a:ext cx="798038" cy="680826"/>
        </a:xfrm>
        <a:prstGeom prst="roundRect">
          <a:avLst>
            <a:gd name="adj" fmla="val 10000"/>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eek 8, 9</a:t>
          </a:r>
        </a:p>
      </dsp:txBody>
      <dsp:txXfrm>
        <a:off x="7843666" y="119794"/>
        <a:ext cx="758156" cy="6409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10EE11-0B9B-4750-A76D-1D6809602C43}">
      <dsp:nvSpPr>
        <dsp:cNvPr id="0" name=""/>
        <dsp:cNvSpPr/>
      </dsp:nvSpPr>
      <dsp:spPr>
        <a:xfrm>
          <a:off x="0" y="0"/>
          <a:ext cx="3081869" cy="648000"/>
        </a:xfrm>
        <a:prstGeom prst="rightArrow">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4148FA-A443-43F3-9A5E-C4C7BC6970BB}">
      <dsp:nvSpPr>
        <dsp:cNvPr id="0" name=""/>
        <dsp:cNvSpPr/>
      </dsp:nvSpPr>
      <dsp:spPr>
        <a:xfrm>
          <a:off x="246558" y="193600"/>
          <a:ext cx="2657510" cy="32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9144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Individual Project</a:t>
          </a:r>
        </a:p>
      </dsp:txBody>
      <dsp:txXfrm>
        <a:off x="246558" y="193600"/>
        <a:ext cx="2657510" cy="324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10EE11-0B9B-4750-A76D-1D6809602C43}">
      <dsp:nvSpPr>
        <dsp:cNvPr id="0" name=""/>
        <dsp:cNvSpPr/>
      </dsp:nvSpPr>
      <dsp:spPr>
        <a:xfrm>
          <a:off x="0" y="0"/>
          <a:ext cx="3335874" cy="648000"/>
        </a:xfrm>
        <a:prstGeom prst="rightArrow">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4148FA-A443-43F3-9A5E-C4C7BC6970BB}">
      <dsp:nvSpPr>
        <dsp:cNvPr id="0" name=""/>
        <dsp:cNvSpPr/>
      </dsp:nvSpPr>
      <dsp:spPr>
        <a:xfrm>
          <a:off x="269914" y="190777"/>
          <a:ext cx="2889570" cy="32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91440" numCol="1" spcCol="1270" anchor="ctr" anchorCtr="0">
          <a:noAutofit/>
        </a:bodyPr>
        <a:lstStyle/>
        <a:p>
          <a:pPr marL="0" lvl="0" indent="0" algn="ctr" defTabSz="400050">
            <a:lnSpc>
              <a:spcPct val="90000"/>
            </a:lnSpc>
            <a:spcBef>
              <a:spcPct val="0"/>
            </a:spcBef>
            <a:spcAft>
              <a:spcPct val="35000"/>
            </a:spcAft>
            <a:buNone/>
          </a:pPr>
          <a:r>
            <a:rPr lang="en-US" sz="900" kern="1200" dirty="0">
              <a:solidFill>
                <a:schemeClr val="bg1"/>
              </a:solidFill>
            </a:rPr>
            <a:t>Team Project</a:t>
          </a:r>
        </a:p>
      </dsp:txBody>
      <dsp:txXfrm>
        <a:off x="269914" y="190777"/>
        <a:ext cx="2889570" cy="324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B5BB46-A09D-4D62-9A77-93CEAA45ACFC}">
      <dsp:nvSpPr>
        <dsp:cNvPr id="0" name=""/>
        <dsp:cNvSpPr/>
      </dsp:nvSpPr>
      <dsp:spPr>
        <a:xfrm>
          <a:off x="4447469" y="1353177"/>
          <a:ext cx="3999363" cy="187261"/>
        </a:xfrm>
        <a:custGeom>
          <a:avLst/>
          <a:gdLst/>
          <a:ahLst/>
          <a:cxnLst/>
          <a:rect l="0" t="0" r="0" b="0"/>
          <a:pathLst>
            <a:path>
              <a:moveTo>
                <a:pt x="0" y="0"/>
              </a:moveTo>
              <a:lnTo>
                <a:pt x="0" y="93630"/>
              </a:lnTo>
              <a:lnTo>
                <a:pt x="3999363" y="93630"/>
              </a:lnTo>
              <a:lnTo>
                <a:pt x="3999363" y="187261"/>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537EADF-0540-442F-9CE4-36978F42779D}">
      <dsp:nvSpPr>
        <dsp:cNvPr id="0" name=""/>
        <dsp:cNvSpPr/>
      </dsp:nvSpPr>
      <dsp:spPr>
        <a:xfrm>
          <a:off x="4447469" y="1353177"/>
          <a:ext cx="2920382" cy="187261"/>
        </a:xfrm>
        <a:custGeom>
          <a:avLst/>
          <a:gdLst/>
          <a:ahLst/>
          <a:cxnLst/>
          <a:rect l="0" t="0" r="0" b="0"/>
          <a:pathLst>
            <a:path>
              <a:moveTo>
                <a:pt x="0" y="0"/>
              </a:moveTo>
              <a:lnTo>
                <a:pt x="0" y="93630"/>
              </a:lnTo>
              <a:lnTo>
                <a:pt x="2920382" y="93630"/>
              </a:lnTo>
              <a:lnTo>
                <a:pt x="2920382" y="187261"/>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BBD174-19EC-4BB2-A3B4-15F86D9C4B9A}">
      <dsp:nvSpPr>
        <dsp:cNvPr id="0" name=""/>
        <dsp:cNvSpPr/>
      </dsp:nvSpPr>
      <dsp:spPr>
        <a:xfrm>
          <a:off x="4447469" y="1353177"/>
          <a:ext cx="1841401" cy="187261"/>
        </a:xfrm>
        <a:custGeom>
          <a:avLst/>
          <a:gdLst/>
          <a:ahLst/>
          <a:cxnLst/>
          <a:rect l="0" t="0" r="0" b="0"/>
          <a:pathLst>
            <a:path>
              <a:moveTo>
                <a:pt x="0" y="0"/>
              </a:moveTo>
              <a:lnTo>
                <a:pt x="0" y="93630"/>
              </a:lnTo>
              <a:lnTo>
                <a:pt x="1841401" y="93630"/>
              </a:lnTo>
              <a:lnTo>
                <a:pt x="1841401" y="187261"/>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4152E2-9E04-49E2-9860-789B4703D6F4}">
      <dsp:nvSpPr>
        <dsp:cNvPr id="0" name=""/>
        <dsp:cNvSpPr/>
      </dsp:nvSpPr>
      <dsp:spPr>
        <a:xfrm>
          <a:off x="4853202" y="2470230"/>
          <a:ext cx="122468" cy="591910"/>
        </a:xfrm>
        <a:custGeom>
          <a:avLst/>
          <a:gdLst/>
          <a:ahLst/>
          <a:cxnLst/>
          <a:rect l="0" t="0" r="0" b="0"/>
          <a:pathLst>
            <a:path>
              <a:moveTo>
                <a:pt x="0" y="0"/>
              </a:moveTo>
              <a:lnTo>
                <a:pt x="0" y="591910"/>
              </a:lnTo>
              <a:lnTo>
                <a:pt x="122468" y="591910"/>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5ED671-F552-4982-841F-608905806176}">
      <dsp:nvSpPr>
        <dsp:cNvPr id="0" name=""/>
        <dsp:cNvSpPr/>
      </dsp:nvSpPr>
      <dsp:spPr>
        <a:xfrm>
          <a:off x="4447469" y="1353177"/>
          <a:ext cx="762420" cy="187261"/>
        </a:xfrm>
        <a:custGeom>
          <a:avLst/>
          <a:gdLst/>
          <a:ahLst/>
          <a:cxnLst/>
          <a:rect l="0" t="0" r="0" b="0"/>
          <a:pathLst>
            <a:path>
              <a:moveTo>
                <a:pt x="0" y="0"/>
              </a:moveTo>
              <a:lnTo>
                <a:pt x="0" y="93630"/>
              </a:lnTo>
              <a:lnTo>
                <a:pt x="762420" y="93630"/>
              </a:lnTo>
              <a:lnTo>
                <a:pt x="762420" y="187261"/>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0FE8FC-08FB-454C-B66D-5E468A21570B}">
      <dsp:nvSpPr>
        <dsp:cNvPr id="0" name=""/>
        <dsp:cNvSpPr/>
      </dsp:nvSpPr>
      <dsp:spPr>
        <a:xfrm>
          <a:off x="3551291" y="1986298"/>
          <a:ext cx="133757" cy="1676433"/>
        </a:xfrm>
        <a:custGeom>
          <a:avLst/>
          <a:gdLst/>
          <a:ahLst/>
          <a:cxnLst/>
          <a:rect l="0" t="0" r="0" b="0"/>
          <a:pathLst>
            <a:path>
              <a:moveTo>
                <a:pt x="0" y="0"/>
              </a:moveTo>
              <a:lnTo>
                <a:pt x="0" y="1676433"/>
              </a:lnTo>
              <a:lnTo>
                <a:pt x="133757" y="1676433"/>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5305584-09E4-4168-A629-2454BAA89621}">
      <dsp:nvSpPr>
        <dsp:cNvPr id="0" name=""/>
        <dsp:cNvSpPr/>
      </dsp:nvSpPr>
      <dsp:spPr>
        <a:xfrm>
          <a:off x="3551291" y="1986298"/>
          <a:ext cx="133757" cy="1043312"/>
        </a:xfrm>
        <a:custGeom>
          <a:avLst/>
          <a:gdLst/>
          <a:ahLst/>
          <a:cxnLst/>
          <a:rect l="0" t="0" r="0" b="0"/>
          <a:pathLst>
            <a:path>
              <a:moveTo>
                <a:pt x="0" y="0"/>
              </a:moveTo>
              <a:lnTo>
                <a:pt x="0" y="1043312"/>
              </a:lnTo>
              <a:lnTo>
                <a:pt x="133757" y="1043312"/>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193866-CAA4-4837-B273-13597F46A2C8}">
      <dsp:nvSpPr>
        <dsp:cNvPr id="0" name=""/>
        <dsp:cNvSpPr/>
      </dsp:nvSpPr>
      <dsp:spPr>
        <a:xfrm>
          <a:off x="3551291" y="1986298"/>
          <a:ext cx="133757" cy="410191"/>
        </a:xfrm>
        <a:custGeom>
          <a:avLst/>
          <a:gdLst/>
          <a:ahLst/>
          <a:cxnLst/>
          <a:rect l="0" t="0" r="0" b="0"/>
          <a:pathLst>
            <a:path>
              <a:moveTo>
                <a:pt x="0" y="0"/>
              </a:moveTo>
              <a:lnTo>
                <a:pt x="0" y="410191"/>
              </a:lnTo>
              <a:lnTo>
                <a:pt x="133757" y="410191"/>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7BCE9C8-94B0-4C91-9B5B-081381254ACB}">
      <dsp:nvSpPr>
        <dsp:cNvPr id="0" name=""/>
        <dsp:cNvSpPr/>
      </dsp:nvSpPr>
      <dsp:spPr>
        <a:xfrm>
          <a:off x="3907979" y="1353177"/>
          <a:ext cx="539490" cy="187261"/>
        </a:xfrm>
        <a:custGeom>
          <a:avLst/>
          <a:gdLst/>
          <a:ahLst/>
          <a:cxnLst/>
          <a:rect l="0" t="0" r="0" b="0"/>
          <a:pathLst>
            <a:path>
              <a:moveTo>
                <a:pt x="539490" y="0"/>
              </a:moveTo>
              <a:lnTo>
                <a:pt x="539490" y="93630"/>
              </a:lnTo>
              <a:lnTo>
                <a:pt x="0" y="93630"/>
              </a:lnTo>
              <a:lnTo>
                <a:pt x="0" y="187261"/>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610C381-62D3-447C-A5C6-4587A6886CBD}">
      <dsp:nvSpPr>
        <dsp:cNvPr id="0" name=""/>
        <dsp:cNvSpPr/>
      </dsp:nvSpPr>
      <dsp:spPr>
        <a:xfrm>
          <a:off x="2828998" y="1353177"/>
          <a:ext cx="1618471" cy="187261"/>
        </a:xfrm>
        <a:custGeom>
          <a:avLst/>
          <a:gdLst/>
          <a:ahLst/>
          <a:cxnLst/>
          <a:rect l="0" t="0" r="0" b="0"/>
          <a:pathLst>
            <a:path>
              <a:moveTo>
                <a:pt x="1618471" y="0"/>
              </a:moveTo>
              <a:lnTo>
                <a:pt x="1618471" y="93630"/>
              </a:lnTo>
              <a:lnTo>
                <a:pt x="0" y="93630"/>
              </a:lnTo>
              <a:lnTo>
                <a:pt x="0" y="187261"/>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6EB34B1-9148-48B9-8A57-981161DED4D2}">
      <dsp:nvSpPr>
        <dsp:cNvPr id="0" name=""/>
        <dsp:cNvSpPr/>
      </dsp:nvSpPr>
      <dsp:spPr>
        <a:xfrm>
          <a:off x="1170399" y="2096087"/>
          <a:ext cx="133757" cy="470457"/>
        </a:xfrm>
        <a:custGeom>
          <a:avLst/>
          <a:gdLst/>
          <a:ahLst/>
          <a:cxnLst/>
          <a:rect l="0" t="0" r="0" b="0"/>
          <a:pathLst>
            <a:path>
              <a:moveTo>
                <a:pt x="0" y="0"/>
              </a:moveTo>
              <a:lnTo>
                <a:pt x="0" y="470457"/>
              </a:lnTo>
              <a:lnTo>
                <a:pt x="133757" y="470457"/>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76D1E7-BE37-4688-BEF9-F98260B45766}">
      <dsp:nvSpPr>
        <dsp:cNvPr id="0" name=""/>
        <dsp:cNvSpPr/>
      </dsp:nvSpPr>
      <dsp:spPr>
        <a:xfrm>
          <a:off x="1527087" y="1353177"/>
          <a:ext cx="2920382" cy="187261"/>
        </a:xfrm>
        <a:custGeom>
          <a:avLst/>
          <a:gdLst/>
          <a:ahLst/>
          <a:cxnLst/>
          <a:rect l="0" t="0" r="0" b="0"/>
          <a:pathLst>
            <a:path>
              <a:moveTo>
                <a:pt x="2920382" y="0"/>
              </a:moveTo>
              <a:lnTo>
                <a:pt x="2920382" y="93630"/>
              </a:lnTo>
              <a:lnTo>
                <a:pt x="0" y="93630"/>
              </a:lnTo>
              <a:lnTo>
                <a:pt x="0" y="187261"/>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4E863B-F6A2-42FD-9C96-A10399FB010A}">
      <dsp:nvSpPr>
        <dsp:cNvPr id="0" name=""/>
        <dsp:cNvSpPr/>
      </dsp:nvSpPr>
      <dsp:spPr>
        <a:xfrm>
          <a:off x="448106" y="1353177"/>
          <a:ext cx="3999363" cy="187261"/>
        </a:xfrm>
        <a:custGeom>
          <a:avLst/>
          <a:gdLst/>
          <a:ahLst/>
          <a:cxnLst/>
          <a:rect l="0" t="0" r="0" b="0"/>
          <a:pathLst>
            <a:path>
              <a:moveTo>
                <a:pt x="3999363" y="0"/>
              </a:moveTo>
              <a:lnTo>
                <a:pt x="3999363" y="93630"/>
              </a:lnTo>
              <a:lnTo>
                <a:pt x="0" y="93630"/>
              </a:lnTo>
              <a:lnTo>
                <a:pt x="0" y="187261"/>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459522-129A-4814-A524-1B7B12ED84FF}">
      <dsp:nvSpPr>
        <dsp:cNvPr id="0" name=""/>
        <dsp:cNvSpPr/>
      </dsp:nvSpPr>
      <dsp:spPr>
        <a:xfrm>
          <a:off x="4001609" y="907317"/>
          <a:ext cx="891719" cy="445859"/>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OOPS Concepts</a:t>
          </a:r>
        </a:p>
      </dsp:txBody>
      <dsp:txXfrm>
        <a:off x="4001609" y="907317"/>
        <a:ext cx="891719" cy="445859"/>
      </dsp:txXfrm>
    </dsp:sp>
    <dsp:sp modelId="{FF8FCA23-D619-4B04-BAC0-79114137DBB5}">
      <dsp:nvSpPr>
        <dsp:cNvPr id="0" name=""/>
        <dsp:cNvSpPr/>
      </dsp:nvSpPr>
      <dsp:spPr>
        <a:xfrm>
          <a:off x="2246" y="1540438"/>
          <a:ext cx="891719" cy="445859"/>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Abstraction</a:t>
          </a:r>
        </a:p>
      </dsp:txBody>
      <dsp:txXfrm>
        <a:off x="2246" y="1540438"/>
        <a:ext cx="891719" cy="445859"/>
      </dsp:txXfrm>
    </dsp:sp>
    <dsp:sp modelId="{0801DB10-E965-43F3-9AF3-B90FBE09FB03}">
      <dsp:nvSpPr>
        <dsp:cNvPr id="0" name=""/>
        <dsp:cNvSpPr/>
      </dsp:nvSpPr>
      <dsp:spPr>
        <a:xfrm>
          <a:off x="1081227" y="1540438"/>
          <a:ext cx="891719" cy="555648"/>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Generalization through abstraction </a:t>
          </a:r>
        </a:p>
      </dsp:txBody>
      <dsp:txXfrm>
        <a:off x="1081227" y="1540438"/>
        <a:ext cx="891719" cy="555648"/>
      </dsp:txXfrm>
    </dsp:sp>
    <dsp:sp modelId="{45315E44-52C1-4260-A409-5D08C3B012F5}">
      <dsp:nvSpPr>
        <dsp:cNvPr id="0" name=""/>
        <dsp:cNvSpPr/>
      </dsp:nvSpPr>
      <dsp:spPr>
        <a:xfrm>
          <a:off x="1304157" y="2283348"/>
          <a:ext cx="891719" cy="566393"/>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Modeling Real World Objects</a:t>
          </a:r>
        </a:p>
      </dsp:txBody>
      <dsp:txXfrm>
        <a:off x="1304157" y="2283348"/>
        <a:ext cx="891719" cy="566393"/>
      </dsp:txXfrm>
    </dsp:sp>
    <dsp:sp modelId="{2422063D-3760-4973-924A-C7A35B6F183A}">
      <dsp:nvSpPr>
        <dsp:cNvPr id="0" name=""/>
        <dsp:cNvSpPr/>
      </dsp:nvSpPr>
      <dsp:spPr>
        <a:xfrm>
          <a:off x="2383138" y="1540438"/>
          <a:ext cx="891719" cy="938544"/>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Organizing abstractions into hierarchies</a:t>
          </a:r>
        </a:p>
      </dsp:txBody>
      <dsp:txXfrm>
        <a:off x="2383138" y="1540438"/>
        <a:ext cx="891719" cy="938544"/>
      </dsp:txXfrm>
    </dsp:sp>
    <dsp:sp modelId="{B56BF1A2-548A-41DD-9181-9755303256E4}">
      <dsp:nvSpPr>
        <dsp:cNvPr id="0" name=""/>
        <dsp:cNvSpPr/>
      </dsp:nvSpPr>
      <dsp:spPr>
        <a:xfrm>
          <a:off x="3462119" y="1540438"/>
          <a:ext cx="891719" cy="445859"/>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What is an object </a:t>
          </a:r>
        </a:p>
      </dsp:txBody>
      <dsp:txXfrm>
        <a:off x="3462119" y="1540438"/>
        <a:ext cx="891719" cy="445859"/>
      </dsp:txXfrm>
    </dsp:sp>
    <dsp:sp modelId="{BD69AEB8-D35E-464F-BE58-2FBF6F5A1E3D}">
      <dsp:nvSpPr>
        <dsp:cNvPr id="0" name=""/>
        <dsp:cNvSpPr/>
      </dsp:nvSpPr>
      <dsp:spPr>
        <a:xfrm>
          <a:off x="3685049" y="2173560"/>
          <a:ext cx="891719" cy="445859"/>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Donut diagram</a:t>
          </a:r>
        </a:p>
      </dsp:txBody>
      <dsp:txXfrm>
        <a:off x="3685049" y="2173560"/>
        <a:ext cx="891719" cy="445859"/>
      </dsp:txXfrm>
    </dsp:sp>
    <dsp:sp modelId="{C01CED70-C573-4324-8B31-2C11A5049EA8}">
      <dsp:nvSpPr>
        <dsp:cNvPr id="0" name=""/>
        <dsp:cNvSpPr/>
      </dsp:nvSpPr>
      <dsp:spPr>
        <a:xfrm>
          <a:off x="3685049" y="2806681"/>
          <a:ext cx="891719" cy="445859"/>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State</a:t>
          </a:r>
        </a:p>
      </dsp:txBody>
      <dsp:txXfrm>
        <a:off x="3685049" y="2806681"/>
        <a:ext cx="891719" cy="445859"/>
      </dsp:txXfrm>
    </dsp:sp>
    <dsp:sp modelId="{6F88843C-A2CB-46A2-81C0-7E7DF6892CA8}">
      <dsp:nvSpPr>
        <dsp:cNvPr id="0" name=""/>
        <dsp:cNvSpPr/>
      </dsp:nvSpPr>
      <dsp:spPr>
        <a:xfrm>
          <a:off x="3685049" y="3439802"/>
          <a:ext cx="891719" cy="445859"/>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Behavior</a:t>
          </a:r>
        </a:p>
      </dsp:txBody>
      <dsp:txXfrm>
        <a:off x="3685049" y="3439802"/>
        <a:ext cx="891719" cy="445859"/>
      </dsp:txXfrm>
    </dsp:sp>
    <dsp:sp modelId="{A9F2C550-EA53-43FD-A0FB-484C52E3FD9B}">
      <dsp:nvSpPr>
        <dsp:cNvPr id="0" name=""/>
        <dsp:cNvSpPr/>
      </dsp:nvSpPr>
      <dsp:spPr>
        <a:xfrm>
          <a:off x="4764030" y="1540438"/>
          <a:ext cx="891719" cy="929791"/>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Concept of Class as abstraction of object</a:t>
          </a:r>
        </a:p>
      </dsp:txBody>
      <dsp:txXfrm>
        <a:off x="4764030" y="1540438"/>
        <a:ext cx="891719" cy="929791"/>
      </dsp:txXfrm>
    </dsp:sp>
    <dsp:sp modelId="{0A098862-927D-4AF9-826C-AE4554DFAD1A}">
      <dsp:nvSpPr>
        <dsp:cNvPr id="0" name=""/>
        <dsp:cNvSpPr/>
      </dsp:nvSpPr>
      <dsp:spPr>
        <a:xfrm>
          <a:off x="4975670" y="2736516"/>
          <a:ext cx="891719" cy="651249"/>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UML notation for a class</a:t>
          </a:r>
        </a:p>
      </dsp:txBody>
      <dsp:txXfrm>
        <a:off x="4975670" y="2736516"/>
        <a:ext cx="891719" cy="651249"/>
      </dsp:txXfrm>
    </dsp:sp>
    <dsp:sp modelId="{17B982D1-66E7-44C5-8F51-E0763FC4B52A}">
      <dsp:nvSpPr>
        <dsp:cNvPr id="0" name=""/>
        <dsp:cNvSpPr/>
      </dsp:nvSpPr>
      <dsp:spPr>
        <a:xfrm>
          <a:off x="5843010" y="1540438"/>
          <a:ext cx="891719" cy="1095807"/>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What is object oriented programming</a:t>
          </a:r>
        </a:p>
      </dsp:txBody>
      <dsp:txXfrm>
        <a:off x="5843010" y="1540438"/>
        <a:ext cx="891719" cy="1095807"/>
      </dsp:txXfrm>
    </dsp:sp>
    <dsp:sp modelId="{371E766F-1B6C-4F03-9EE9-EA294AEB18BD}">
      <dsp:nvSpPr>
        <dsp:cNvPr id="0" name=""/>
        <dsp:cNvSpPr/>
      </dsp:nvSpPr>
      <dsp:spPr>
        <a:xfrm>
          <a:off x="6921991" y="1540438"/>
          <a:ext cx="891719" cy="738767"/>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Why Object Oriented Programming</a:t>
          </a:r>
        </a:p>
      </dsp:txBody>
      <dsp:txXfrm>
        <a:off x="6921991" y="1540438"/>
        <a:ext cx="891719" cy="738767"/>
      </dsp:txXfrm>
    </dsp:sp>
    <dsp:sp modelId="{65BCD025-670A-4935-99E0-81F307EAB97B}">
      <dsp:nvSpPr>
        <dsp:cNvPr id="0" name=""/>
        <dsp:cNvSpPr/>
      </dsp:nvSpPr>
      <dsp:spPr>
        <a:xfrm>
          <a:off x="8000972" y="1540438"/>
          <a:ext cx="891719" cy="1135199"/>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Benefits or Goals of Object Oriented Programming</a:t>
          </a:r>
        </a:p>
      </dsp:txBody>
      <dsp:txXfrm>
        <a:off x="8000972" y="1540438"/>
        <a:ext cx="891719" cy="113519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16E868-3AA4-42B3-BB7F-B7050A9C4C3C}">
      <dsp:nvSpPr>
        <dsp:cNvPr id="0" name=""/>
        <dsp:cNvSpPr/>
      </dsp:nvSpPr>
      <dsp:spPr>
        <a:xfrm>
          <a:off x="7472110" y="1574246"/>
          <a:ext cx="182155" cy="558611"/>
        </a:xfrm>
        <a:custGeom>
          <a:avLst/>
          <a:gdLst/>
          <a:ahLst/>
          <a:cxnLst/>
          <a:rect l="0" t="0" r="0" b="0"/>
          <a:pathLst>
            <a:path>
              <a:moveTo>
                <a:pt x="0" y="0"/>
              </a:moveTo>
              <a:lnTo>
                <a:pt x="0" y="558611"/>
              </a:lnTo>
              <a:lnTo>
                <a:pt x="182155" y="558611"/>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B5424B-69F3-4EBC-AC96-4937839F5143}">
      <dsp:nvSpPr>
        <dsp:cNvPr id="0" name=""/>
        <dsp:cNvSpPr/>
      </dsp:nvSpPr>
      <dsp:spPr>
        <a:xfrm>
          <a:off x="4284384" y="712042"/>
          <a:ext cx="3673475" cy="255018"/>
        </a:xfrm>
        <a:custGeom>
          <a:avLst/>
          <a:gdLst/>
          <a:ahLst/>
          <a:cxnLst/>
          <a:rect l="0" t="0" r="0" b="0"/>
          <a:pathLst>
            <a:path>
              <a:moveTo>
                <a:pt x="0" y="0"/>
              </a:moveTo>
              <a:lnTo>
                <a:pt x="0" y="127509"/>
              </a:lnTo>
              <a:lnTo>
                <a:pt x="3673475" y="127509"/>
              </a:lnTo>
              <a:lnTo>
                <a:pt x="3673475" y="25501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0481E7-8123-4387-9735-5BB9C376775D}">
      <dsp:nvSpPr>
        <dsp:cNvPr id="0" name=""/>
        <dsp:cNvSpPr/>
      </dsp:nvSpPr>
      <dsp:spPr>
        <a:xfrm>
          <a:off x="6002720" y="1574246"/>
          <a:ext cx="182155" cy="558611"/>
        </a:xfrm>
        <a:custGeom>
          <a:avLst/>
          <a:gdLst/>
          <a:ahLst/>
          <a:cxnLst/>
          <a:rect l="0" t="0" r="0" b="0"/>
          <a:pathLst>
            <a:path>
              <a:moveTo>
                <a:pt x="0" y="0"/>
              </a:moveTo>
              <a:lnTo>
                <a:pt x="0" y="558611"/>
              </a:lnTo>
              <a:lnTo>
                <a:pt x="182155" y="558611"/>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06FB97D-722E-4231-94E4-2CBDE901DA69}">
      <dsp:nvSpPr>
        <dsp:cNvPr id="0" name=""/>
        <dsp:cNvSpPr/>
      </dsp:nvSpPr>
      <dsp:spPr>
        <a:xfrm>
          <a:off x="4284384" y="712042"/>
          <a:ext cx="2204085" cy="255018"/>
        </a:xfrm>
        <a:custGeom>
          <a:avLst/>
          <a:gdLst/>
          <a:ahLst/>
          <a:cxnLst/>
          <a:rect l="0" t="0" r="0" b="0"/>
          <a:pathLst>
            <a:path>
              <a:moveTo>
                <a:pt x="0" y="0"/>
              </a:moveTo>
              <a:lnTo>
                <a:pt x="0" y="127509"/>
              </a:lnTo>
              <a:lnTo>
                <a:pt x="2204085" y="127509"/>
              </a:lnTo>
              <a:lnTo>
                <a:pt x="2204085" y="25501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EBA7FBF-E042-4187-B591-29A53848CC74}">
      <dsp:nvSpPr>
        <dsp:cNvPr id="0" name=""/>
        <dsp:cNvSpPr/>
      </dsp:nvSpPr>
      <dsp:spPr>
        <a:xfrm>
          <a:off x="4533330" y="1574246"/>
          <a:ext cx="182155" cy="2283019"/>
        </a:xfrm>
        <a:custGeom>
          <a:avLst/>
          <a:gdLst/>
          <a:ahLst/>
          <a:cxnLst/>
          <a:rect l="0" t="0" r="0" b="0"/>
          <a:pathLst>
            <a:path>
              <a:moveTo>
                <a:pt x="0" y="0"/>
              </a:moveTo>
              <a:lnTo>
                <a:pt x="0" y="2283019"/>
              </a:lnTo>
              <a:lnTo>
                <a:pt x="182155" y="2283019"/>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170381-464E-46F3-ADA4-7BFB731EEC04}">
      <dsp:nvSpPr>
        <dsp:cNvPr id="0" name=""/>
        <dsp:cNvSpPr/>
      </dsp:nvSpPr>
      <dsp:spPr>
        <a:xfrm>
          <a:off x="4533330" y="1574246"/>
          <a:ext cx="182155" cy="1420815"/>
        </a:xfrm>
        <a:custGeom>
          <a:avLst/>
          <a:gdLst/>
          <a:ahLst/>
          <a:cxnLst/>
          <a:rect l="0" t="0" r="0" b="0"/>
          <a:pathLst>
            <a:path>
              <a:moveTo>
                <a:pt x="0" y="0"/>
              </a:moveTo>
              <a:lnTo>
                <a:pt x="0" y="1420815"/>
              </a:lnTo>
              <a:lnTo>
                <a:pt x="182155" y="1420815"/>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6E51B24-AB5C-4898-9C72-ABD4D235D8CB}">
      <dsp:nvSpPr>
        <dsp:cNvPr id="0" name=""/>
        <dsp:cNvSpPr/>
      </dsp:nvSpPr>
      <dsp:spPr>
        <a:xfrm>
          <a:off x="4533330" y="1574246"/>
          <a:ext cx="182155" cy="558611"/>
        </a:xfrm>
        <a:custGeom>
          <a:avLst/>
          <a:gdLst/>
          <a:ahLst/>
          <a:cxnLst/>
          <a:rect l="0" t="0" r="0" b="0"/>
          <a:pathLst>
            <a:path>
              <a:moveTo>
                <a:pt x="0" y="0"/>
              </a:moveTo>
              <a:lnTo>
                <a:pt x="0" y="558611"/>
              </a:lnTo>
              <a:lnTo>
                <a:pt x="182155" y="558611"/>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001EF35-8F0E-4508-AC1B-B6D32A5B79D8}">
      <dsp:nvSpPr>
        <dsp:cNvPr id="0" name=""/>
        <dsp:cNvSpPr/>
      </dsp:nvSpPr>
      <dsp:spPr>
        <a:xfrm>
          <a:off x="4284384" y="712042"/>
          <a:ext cx="734695" cy="255018"/>
        </a:xfrm>
        <a:custGeom>
          <a:avLst/>
          <a:gdLst/>
          <a:ahLst/>
          <a:cxnLst/>
          <a:rect l="0" t="0" r="0" b="0"/>
          <a:pathLst>
            <a:path>
              <a:moveTo>
                <a:pt x="0" y="0"/>
              </a:moveTo>
              <a:lnTo>
                <a:pt x="0" y="127509"/>
              </a:lnTo>
              <a:lnTo>
                <a:pt x="734695" y="127509"/>
              </a:lnTo>
              <a:lnTo>
                <a:pt x="734695" y="25501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97D9C0-7BB6-42FC-890F-99FA981ADF34}">
      <dsp:nvSpPr>
        <dsp:cNvPr id="0" name=""/>
        <dsp:cNvSpPr/>
      </dsp:nvSpPr>
      <dsp:spPr>
        <a:xfrm>
          <a:off x="3063940" y="1574246"/>
          <a:ext cx="182155" cy="2283019"/>
        </a:xfrm>
        <a:custGeom>
          <a:avLst/>
          <a:gdLst/>
          <a:ahLst/>
          <a:cxnLst/>
          <a:rect l="0" t="0" r="0" b="0"/>
          <a:pathLst>
            <a:path>
              <a:moveTo>
                <a:pt x="0" y="0"/>
              </a:moveTo>
              <a:lnTo>
                <a:pt x="0" y="2283019"/>
              </a:lnTo>
              <a:lnTo>
                <a:pt x="182155" y="2283019"/>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630FF56-D671-4771-B3CE-889DDB532198}">
      <dsp:nvSpPr>
        <dsp:cNvPr id="0" name=""/>
        <dsp:cNvSpPr/>
      </dsp:nvSpPr>
      <dsp:spPr>
        <a:xfrm>
          <a:off x="3063940" y="1574246"/>
          <a:ext cx="182155" cy="1420815"/>
        </a:xfrm>
        <a:custGeom>
          <a:avLst/>
          <a:gdLst/>
          <a:ahLst/>
          <a:cxnLst/>
          <a:rect l="0" t="0" r="0" b="0"/>
          <a:pathLst>
            <a:path>
              <a:moveTo>
                <a:pt x="0" y="0"/>
              </a:moveTo>
              <a:lnTo>
                <a:pt x="0" y="1420815"/>
              </a:lnTo>
              <a:lnTo>
                <a:pt x="182155" y="1420815"/>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8EC7C8-418C-4037-9698-0492AB6ECC87}">
      <dsp:nvSpPr>
        <dsp:cNvPr id="0" name=""/>
        <dsp:cNvSpPr/>
      </dsp:nvSpPr>
      <dsp:spPr>
        <a:xfrm>
          <a:off x="3063940" y="1574246"/>
          <a:ext cx="182155" cy="558611"/>
        </a:xfrm>
        <a:custGeom>
          <a:avLst/>
          <a:gdLst/>
          <a:ahLst/>
          <a:cxnLst/>
          <a:rect l="0" t="0" r="0" b="0"/>
          <a:pathLst>
            <a:path>
              <a:moveTo>
                <a:pt x="0" y="0"/>
              </a:moveTo>
              <a:lnTo>
                <a:pt x="0" y="558611"/>
              </a:lnTo>
              <a:lnTo>
                <a:pt x="182155" y="558611"/>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C7895D-2E4C-4353-BA4A-90C0DBE0A932}">
      <dsp:nvSpPr>
        <dsp:cNvPr id="0" name=""/>
        <dsp:cNvSpPr/>
      </dsp:nvSpPr>
      <dsp:spPr>
        <a:xfrm>
          <a:off x="3549688" y="712042"/>
          <a:ext cx="734695" cy="255018"/>
        </a:xfrm>
        <a:custGeom>
          <a:avLst/>
          <a:gdLst/>
          <a:ahLst/>
          <a:cxnLst/>
          <a:rect l="0" t="0" r="0" b="0"/>
          <a:pathLst>
            <a:path>
              <a:moveTo>
                <a:pt x="734695" y="0"/>
              </a:moveTo>
              <a:lnTo>
                <a:pt x="734695" y="127509"/>
              </a:lnTo>
              <a:lnTo>
                <a:pt x="0" y="127509"/>
              </a:lnTo>
              <a:lnTo>
                <a:pt x="0" y="25501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93404DA-8EFD-41D0-8B67-C4BC95A44D08}">
      <dsp:nvSpPr>
        <dsp:cNvPr id="0" name=""/>
        <dsp:cNvSpPr/>
      </dsp:nvSpPr>
      <dsp:spPr>
        <a:xfrm>
          <a:off x="2080298" y="712042"/>
          <a:ext cx="2204085" cy="255018"/>
        </a:xfrm>
        <a:custGeom>
          <a:avLst/>
          <a:gdLst/>
          <a:ahLst/>
          <a:cxnLst/>
          <a:rect l="0" t="0" r="0" b="0"/>
          <a:pathLst>
            <a:path>
              <a:moveTo>
                <a:pt x="2204085" y="0"/>
              </a:moveTo>
              <a:lnTo>
                <a:pt x="2204085" y="127509"/>
              </a:lnTo>
              <a:lnTo>
                <a:pt x="0" y="127509"/>
              </a:lnTo>
              <a:lnTo>
                <a:pt x="0" y="25501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8A79F7-4FE7-4595-B8E8-D839A0E4B501}">
      <dsp:nvSpPr>
        <dsp:cNvPr id="0" name=""/>
        <dsp:cNvSpPr/>
      </dsp:nvSpPr>
      <dsp:spPr>
        <a:xfrm>
          <a:off x="610908" y="712042"/>
          <a:ext cx="3673475" cy="255018"/>
        </a:xfrm>
        <a:custGeom>
          <a:avLst/>
          <a:gdLst/>
          <a:ahLst/>
          <a:cxnLst/>
          <a:rect l="0" t="0" r="0" b="0"/>
          <a:pathLst>
            <a:path>
              <a:moveTo>
                <a:pt x="3673475" y="0"/>
              </a:moveTo>
              <a:lnTo>
                <a:pt x="3673475" y="127509"/>
              </a:lnTo>
              <a:lnTo>
                <a:pt x="0" y="127509"/>
              </a:lnTo>
              <a:lnTo>
                <a:pt x="0" y="25501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23F0675-573B-49B0-957A-0669E58A0D82}">
      <dsp:nvSpPr>
        <dsp:cNvPr id="0" name=""/>
        <dsp:cNvSpPr/>
      </dsp:nvSpPr>
      <dsp:spPr>
        <a:xfrm>
          <a:off x="3677198" y="104856"/>
          <a:ext cx="1214371" cy="607185"/>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Relationship between objects</a:t>
          </a:r>
        </a:p>
      </dsp:txBody>
      <dsp:txXfrm>
        <a:off x="3677198" y="104856"/>
        <a:ext cx="1214371" cy="607185"/>
      </dsp:txXfrm>
    </dsp:sp>
    <dsp:sp modelId="{9E267614-CEAC-4E50-9A57-BA1E496BC7EC}">
      <dsp:nvSpPr>
        <dsp:cNvPr id="0" name=""/>
        <dsp:cNvSpPr/>
      </dsp:nvSpPr>
      <dsp:spPr>
        <a:xfrm>
          <a:off x="3722" y="967060"/>
          <a:ext cx="1214371" cy="60718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Objects as attributes</a:t>
          </a:r>
        </a:p>
      </dsp:txBody>
      <dsp:txXfrm>
        <a:off x="3722" y="967060"/>
        <a:ext cx="1214371" cy="607185"/>
      </dsp:txXfrm>
    </dsp:sp>
    <dsp:sp modelId="{23E0E6CF-926D-46FC-BB8A-6E182F3B847E}">
      <dsp:nvSpPr>
        <dsp:cNvPr id="0" name=""/>
        <dsp:cNvSpPr/>
      </dsp:nvSpPr>
      <dsp:spPr>
        <a:xfrm>
          <a:off x="1473113" y="967060"/>
          <a:ext cx="1214371" cy="60718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Composite classes</a:t>
          </a:r>
        </a:p>
      </dsp:txBody>
      <dsp:txXfrm>
        <a:off x="1473113" y="967060"/>
        <a:ext cx="1214371" cy="607185"/>
      </dsp:txXfrm>
    </dsp:sp>
    <dsp:sp modelId="{AC54FE31-3868-48DB-AFA0-E1CE3E66407D}">
      <dsp:nvSpPr>
        <dsp:cNvPr id="0" name=""/>
        <dsp:cNvSpPr/>
      </dsp:nvSpPr>
      <dsp:spPr>
        <a:xfrm>
          <a:off x="2942503" y="967060"/>
          <a:ext cx="1214371" cy="60718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Association and links</a:t>
          </a:r>
        </a:p>
      </dsp:txBody>
      <dsp:txXfrm>
        <a:off x="2942503" y="967060"/>
        <a:ext cx="1214371" cy="607185"/>
      </dsp:txXfrm>
    </dsp:sp>
    <dsp:sp modelId="{F777BD30-F0B3-416E-9A7D-A062C1500764}">
      <dsp:nvSpPr>
        <dsp:cNvPr id="0" name=""/>
        <dsp:cNvSpPr/>
      </dsp:nvSpPr>
      <dsp:spPr>
        <a:xfrm>
          <a:off x="3246096" y="1829264"/>
          <a:ext cx="1214371" cy="607185"/>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Binary association</a:t>
          </a:r>
        </a:p>
      </dsp:txBody>
      <dsp:txXfrm>
        <a:off x="3246096" y="1829264"/>
        <a:ext cx="1214371" cy="607185"/>
      </dsp:txXfrm>
    </dsp:sp>
    <dsp:sp modelId="{C4708E09-D5FD-4633-9F3D-D0D5386E8BA4}">
      <dsp:nvSpPr>
        <dsp:cNvPr id="0" name=""/>
        <dsp:cNvSpPr/>
      </dsp:nvSpPr>
      <dsp:spPr>
        <a:xfrm>
          <a:off x="3246096" y="2691468"/>
          <a:ext cx="1214371" cy="607185"/>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Unary association</a:t>
          </a:r>
        </a:p>
      </dsp:txBody>
      <dsp:txXfrm>
        <a:off x="3246096" y="2691468"/>
        <a:ext cx="1214371" cy="607185"/>
      </dsp:txXfrm>
    </dsp:sp>
    <dsp:sp modelId="{75004E6B-2D78-4296-A03A-9482A39A16DD}">
      <dsp:nvSpPr>
        <dsp:cNvPr id="0" name=""/>
        <dsp:cNvSpPr/>
      </dsp:nvSpPr>
      <dsp:spPr>
        <a:xfrm>
          <a:off x="3246096" y="3553672"/>
          <a:ext cx="1214371" cy="607185"/>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Ternary association</a:t>
          </a:r>
        </a:p>
      </dsp:txBody>
      <dsp:txXfrm>
        <a:off x="3246096" y="3553672"/>
        <a:ext cx="1214371" cy="607185"/>
      </dsp:txXfrm>
    </dsp:sp>
    <dsp:sp modelId="{7334989D-39FA-412A-A685-F9C8A3F319C0}">
      <dsp:nvSpPr>
        <dsp:cNvPr id="0" name=""/>
        <dsp:cNvSpPr/>
      </dsp:nvSpPr>
      <dsp:spPr>
        <a:xfrm>
          <a:off x="4411893" y="967060"/>
          <a:ext cx="1214371" cy="60718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Cardinality or multiplicity</a:t>
          </a:r>
        </a:p>
      </dsp:txBody>
      <dsp:txXfrm>
        <a:off x="4411893" y="967060"/>
        <a:ext cx="1214371" cy="607185"/>
      </dsp:txXfrm>
    </dsp:sp>
    <dsp:sp modelId="{7A0BCE84-7939-4C80-83DB-CB411CFF0C78}">
      <dsp:nvSpPr>
        <dsp:cNvPr id="0" name=""/>
        <dsp:cNvSpPr/>
      </dsp:nvSpPr>
      <dsp:spPr>
        <a:xfrm>
          <a:off x="4715486" y="1829264"/>
          <a:ext cx="1214371" cy="607185"/>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One to one</a:t>
          </a:r>
        </a:p>
      </dsp:txBody>
      <dsp:txXfrm>
        <a:off x="4715486" y="1829264"/>
        <a:ext cx="1214371" cy="607185"/>
      </dsp:txXfrm>
    </dsp:sp>
    <dsp:sp modelId="{35997AF1-4614-4857-8461-6C54BF806DA1}">
      <dsp:nvSpPr>
        <dsp:cNvPr id="0" name=""/>
        <dsp:cNvSpPr/>
      </dsp:nvSpPr>
      <dsp:spPr>
        <a:xfrm>
          <a:off x="4715486" y="2691468"/>
          <a:ext cx="1214371" cy="607185"/>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One to many</a:t>
          </a:r>
        </a:p>
      </dsp:txBody>
      <dsp:txXfrm>
        <a:off x="4715486" y="2691468"/>
        <a:ext cx="1214371" cy="607185"/>
      </dsp:txXfrm>
    </dsp:sp>
    <dsp:sp modelId="{4624A1F4-557D-430D-8F0B-8A3CCAE1299C}">
      <dsp:nvSpPr>
        <dsp:cNvPr id="0" name=""/>
        <dsp:cNvSpPr/>
      </dsp:nvSpPr>
      <dsp:spPr>
        <a:xfrm>
          <a:off x="4715486" y="3553672"/>
          <a:ext cx="1214371" cy="607185"/>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Many to many</a:t>
          </a:r>
        </a:p>
      </dsp:txBody>
      <dsp:txXfrm>
        <a:off x="4715486" y="3553672"/>
        <a:ext cx="1214371" cy="607185"/>
      </dsp:txXfrm>
    </dsp:sp>
    <dsp:sp modelId="{61E76ED2-C097-4B23-A65E-717E7085060A}">
      <dsp:nvSpPr>
        <dsp:cNvPr id="0" name=""/>
        <dsp:cNvSpPr/>
      </dsp:nvSpPr>
      <dsp:spPr>
        <a:xfrm>
          <a:off x="5881283" y="967060"/>
          <a:ext cx="1214371" cy="60718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Aggregation</a:t>
          </a:r>
        </a:p>
      </dsp:txBody>
      <dsp:txXfrm>
        <a:off x="5881283" y="967060"/>
        <a:ext cx="1214371" cy="607185"/>
      </dsp:txXfrm>
    </dsp:sp>
    <dsp:sp modelId="{69CB3CD2-E008-4E71-8C8B-162FEE75F22C}">
      <dsp:nvSpPr>
        <dsp:cNvPr id="0" name=""/>
        <dsp:cNvSpPr/>
      </dsp:nvSpPr>
      <dsp:spPr>
        <a:xfrm>
          <a:off x="6184876" y="1829264"/>
          <a:ext cx="1214371" cy="607185"/>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Composite aggregation</a:t>
          </a:r>
        </a:p>
      </dsp:txBody>
      <dsp:txXfrm>
        <a:off x="6184876" y="1829264"/>
        <a:ext cx="1214371" cy="607185"/>
      </dsp:txXfrm>
    </dsp:sp>
    <dsp:sp modelId="{62008004-9441-4030-8C35-1B9FD19E9CD2}">
      <dsp:nvSpPr>
        <dsp:cNvPr id="0" name=""/>
        <dsp:cNvSpPr/>
      </dsp:nvSpPr>
      <dsp:spPr>
        <a:xfrm>
          <a:off x="7350673" y="967060"/>
          <a:ext cx="1214371" cy="60718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Inheritance</a:t>
          </a:r>
        </a:p>
      </dsp:txBody>
      <dsp:txXfrm>
        <a:off x="7350673" y="967060"/>
        <a:ext cx="1214371" cy="607185"/>
      </dsp:txXfrm>
    </dsp:sp>
    <dsp:sp modelId="{29F0B1B4-563D-4B1E-9EBD-17978F8461AD}">
      <dsp:nvSpPr>
        <dsp:cNvPr id="0" name=""/>
        <dsp:cNvSpPr/>
      </dsp:nvSpPr>
      <dsp:spPr>
        <a:xfrm>
          <a:off x="7654266" y="1829264"/>
          <a:ext cx="1214371" cy="607185"/>
        </a:xfrm>
        <a:prstGeom prst="rect">
          <a:avLst/>
        </a:prstGeom>
        <a:solidFill>
          <a:schemeClr val="accent5">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t>Multiple inheritance</a:t>
          </a:r>
        </a:p>
      </dsp:txBody>
      <dsp:txXfrm>
        <a:off x="7654266" y="1829264"/>
        <a:ext cx="1214371" cy="60718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DE7B90-97FB-4D33-B66E-A70CE96E9910}">
      <dsp:nvSpPr>
        <dsp:cNvPr id="0" name=""/>
        <dsp:cNvSpPr/>
      </dsp:nvSpPr>
      <dsp:spPr>
        <a:xfrm>
          <a:off x="0" y="27873"/>
          <a:ext cx="8695690" cy="455715"/>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Study material</a:t>
          </a:r>
        </a:p>
      </dsp:txBody>
      <dsp:txXfrm>
        <a:off x="22246" y="50119"/>
        <a:ext cx="8651198" cy="411223"/>
      </dsp:txXfrm>
    </dsp:sp>
    <dsp:sp modelId="{1FA296BA-20E1-4F11-813A-9A9681B79A78}">
      <dsp:nvSpPr>
        <dsp:cNvPr id="0" name=""/>
        <dsp:cNvSpPr/>
      </dsp:nvSpPr>
      <dsp:spPr>
        <a:xfrm>
          <a:off x="0" y="483588"/>
          <a:ext cx="8695690"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608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a:t>Object Model - </a:t>
          </a:r>
          <a:r>
            <a:rPr lang="en-US" sz="1500" kern="1200">
              <a:hlinkClick xmlns:r="http://schemas.openxmlformats.org/officeDocument/2006/relationships" r:id="rId1"/>
            </a:rPr>
            <a:t>https://www.tutorialspoint.com/object_oriented_analysis_design/ooad_object_oriented_model.htm</a:t>
          </a:r>
          <a:endParaRPr lang="en-US" sz="1500" kern="1200"/>
        </a:p>
        <a:p>
          <a:pPr marL="114300" lvl="1" indent="-114300" algn="l" defTabSz="666750">
            <a:lnSpc>
              <a:spcPct val="90000"/>
            </a:lnSpc>
            <a:spcBef>
              <a:spcPct val="0"/>
            </a:spcBef>
            <a:spcAft>
              <a:spcPct val="20000"/>
            </a:spcAft>
            <a:buChar char="•"/>
          </a:pPr>
          <a:r>
            <a:rPr lang="en-US" sz="1500" kern="1200"/>
            <a:t>UML Introduction - </a:t>
          </a:r>
          <a:r>
            <a:rPr lang="en-US" sz="1500" kern="1200">
              <a:hlinkClick xmlns:r="http://schemas.openxmlformats.org/officeDocument/2006/relationships" r:id="rId2"/>
            </a:rPr>
            <a:t>https://www.ibm.com/developerworks/rational/library/769.html</a:t>
          </a:r>
          <a:endParaRPr lang="en-US" sz="1500" kern="1200"/>
        </a:p>
      </dsp:txBody>
      <dsp:txXfrm>
        <a:off x="0" y="483588"/>
        <a:ext cx="8695690" cy="727605"/>
      </dsp:txXfrm>
    </dsp:sp>
    <dsp:sp modelId="{F7073D54-54C3-40FF-8BC4-A1C1B6A92F45}">
      <dsp:nvSpPr>
        <dsp:cNvPr id="0" name=""/>
        <dsp:cNvSpPr/>
      </dsp:nvSpPr>
      <dsp:spPr>
        <a:xfrm>
          <a:off x="0" y="1211193"/>
          <a:ext cx="8695690" cy="455715"/>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Reference material</a:t>
          </a:r>
        </a:p>
      </dsp:txBody>
      <dsp:txXfrm>
        <a:off x="22246" y="1233439"/>
        <a:ext cx="8651198" cy="411223"/>
      </dsp:txXfrm>
    </dsp:sp>
    <dsp:sp modelId="{E6883C08-F49E-4242-AC93-30B3F1DDD67B}">
      <dsp:nvSpPr>
        <dsp:cNvPr id="0" name=""/>
        <dsp:cNvSpPr/>
      </dsp:nvSpPr>
      <dsp:spPr>
        <a:xfrm>
          <a:off x="0" y="1666907"/>
          <a:ext cx="8695690"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608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Object Oriented modeling - </a:t>
          </a:r>
          <a:r>
            <a:rPr lang="en-US" sz="1500" kern="1200" dirty="0" err="1">
              <a:hlinkClick xmlns:r="http://schemas.openxmlformats.org/officeDocument/2006/relationships" r:id="rId3"/>
            </a:rPr>
            <a:t>eGyanKosh</a:t>
          </a:r>
          <a:r>
            <a:rPr lang="en-US" sz="1500" kern="1200" dirty="0">
              <a:hlinkClick xmlns:r="http://schemas.openxmlformats.org/officeDocument/2006/relationships" r:id="rId3"/>
            </a:rPr>
            <a:t>: MCS-032 Object Oriented Analysis and Design</a:t>
          </a:r>
          <a:r>
            <a:rPr lang="en-US" sz="1500" kern="1200" dirty="0"/>
            <a:t> </a:t>
          </a:r>
        </a:p>
      </dsp:txBody>
      <dsp:txXfrm>
        <a:off x="0" y="1666907"/>
        <a:ext cx="8695690" cy="31464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E6862-2C2E-4768-B97F-FE07A0055907}">
      <dsp:nvSpPr>
        <dsp:cNvPr id="0" name=""/>
        <dsp:cNvSpPr/>
      </dsp:nvSpPr>
      <dsp:spPr>
        <a:xfrm>
          <a:off x="0" y="193630"/>
          <a:ext cx="8421511" cy="431730"/>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Identify and create the classification and the models involved in </a:t>
          </a:r>
        </a:p>
      </dsp:txBody>
      <dsp:txXfrm>
        <a:off x="21075" y="214705"/>
        <a:ext cx="8379361" cy="389580"/>
      </dsp:txXfrm>
    </dsp:sp>
    <dsp:sp modelId="{F72A0DEE-E24D-4CF4-8190-AA59D264CE4A}">
      <dsp:nvSpPr>
        <dsp:cNvPr id="0" name=""/>
        <dsp:cNvSpPr/>
      </dsp:nvSpPr>
      <dsp:spPr>
        <a:xfrm>
          <a:off x="0" y="625360"/>
          <a:ext cx="8421511" cy="726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383"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Land scape</a:t>
          </a:r>
        </a:p>
        <a:p>
          <a:pPr marL="114300" lvl="1" indent="-114300" algn="l" defTabSz="622300">
            <a:lnSpc>
              <a:spcPct val="90000"/>
            </a:lnSpc>
            <a:spcBef>
              <a:spcPct val="0"/>
            </a:spcBef>
            <a:spcAft>
              <a:spcPct val="20000"/>
            </a:spcAft>
            <a:buChar char="•"/>
          </a:pPr>
          <a:r>
            <a:rPr lang="en-US" sz="1400" kern="1200" dirty="0"/>
            <a:t>Payroll System</a:t>
          </a:r>
        </a:p>
        <a:p>
          <a:pPr marL="114300" lvl="1" indent="-114300" algn="l" defTabSz="622300">
            <a:lnSpc>
              <a:spcPct val="90000"/>
            </a:lnSpc>
            <a:spcBef>
              <a:spcPct val="0"/>
            </a:spcBef>
            <a:spcAft>
              <a:spcPct val="20000"/>
            </a:spcAft>
            <a:buChar char="•"/>
          </a:pPr>
          <a:r>
            <a:rPr lang="en-US" sz="1400" kern="1200" dirty="0"/>
            <a:t>A Training Program</a:t>
          </a:r>
        </a:p>
      </dsp:txBody>
      <dsp:txXfrm>
        <a:off x="0" y="625360"/>
        <a:ext cx="8421511" cy="726570"/>
      </dsp:txXfrm>
    </dsp:sp>
    <dsp:sp modelId="{543D6A95-9340-4F48-A152-46905A1FCFA4}">
      <dsp:nvSpPr>
        <dsp:cNvPr id="0" name=""/>
        <dsp:cNvSpPr/>
      </dsp:nvSpPr>
      <dsp:spPr>
        <a:xfrm>
          <a:off x="0" y="1351930"/>
          <a:ext cx="8421511" cy="431730"/>
        </a:xfrm>
        <a:prstGeom prst="roundRect">
          <a:avLst/>
        </a:prstGeom>
        <a:solidFill>
          <a:schemeClr val="accent5">
            <a:shade val="80000"/>
            <a:hueOff val="116428"/>
            <a:satOff val="-2085"/>
            <a:lumOff val="88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What aspects of a television set would be important to abstract from the perspective of</a:t>
          </a:r>
        </a:p>
      </dsp:txBody>
      <dsp:txXfrm>
        <a:off x="21075" y="1373005"/>
        <a:ext cx="8379361" cy="389580"/>
      </dsp:txXfrm>
    </dsp:sp>
    <dsp:sp modelId="{257D5C56-26E4-4280-9D6B-F07CF3507111}">
      <dsp:nvSpPr>
        <dsp:cNvPr id="0" name=""/>
        <dsp:cNvSpPr/>
      </dsp:nvSpPr>
      <dsp:spPr>
        <a:xfrm>
          <a:off x="0" y="1783660"/>
          <a:ext cx="8421511" cy="968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383"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A consumer wishing to buy one?</a:t>
          </a:r>
        </a:p>
        <a:p>
          <a:pPr marL="114300" lvl="1" indent="-114300" algn="l" defTabSz="622300">
            <a:lnSpc>
              <a:spcPct val="90000"/>
            </a:lnSpc>
            <a:spcBef>
              <a:spcPct val="0"/>
            </a:spcBef>
            <a:spcAft>
              <a:spcPct val="20000"/>
            </a:spcAft>
            <a:buChar char="•"/>
          </a:pPr>
          <a:r>
            <a:rPr lang="en-US" sz="1400" kern="1200" dirty="0"/>
            <a:t>An engineer responsible for designing one?</a:t>
          </a:r>
        </a:p>
        <a:p>
          <a:pPr marL="114300" lvl="1" indent="-114300" algn="l" defTabSz="622300">
            <a:lnSpc>
              <a:spcPct val="90000"/>
            </a:lnSpc>
            <a:spcBef>
              <a:spcPct val="0"/>
            </a:spcBef>
            <a:spcAft>
              <a:spcPct val="20000"/>
            </a:spcAft>
            <a:buChar char="•"/>
          </a:pPr>
          <a:r>
            <a:rPr lang="en-US" sz="1400" kern="1200" dirty="0"/>
            <a:t>A retailer who sells them?</a:t>
          </a:r>
        </a:p>
        <a:p>
          <a:pPr marL="114300" lvl="1" indent="-114300" algn="l" defTabSz="622300">
            <a:lnSpc>
              <a:spcPct val="90000"/>
            </a:lnSpc>
            <a:spcBef>
              <a:spcPct val="0"/>
            </a:spcBef>
            <a:spcAft>
              <a:spcPct val="20000"/>
            </a:spcAft>
            <a:buChar char="•"/>
          </a:pPr>
          <a:r>
            <a:rPr lang="en-US" sz="1400" kern="1200" dirty="0"/>
            <a:t>The manufacturer?</a:t>
          </a:r>
        </a:p>
      </dsp:txBody>
      <dsp:txXfrm>
        <a:off x="0" y="1783660"/>
        <a:ext cx="8421511" cy="968760"/>
      </dsp:txXfrm>
    </dsp:sp>
    <dsp:sp modelId="{0109B17C-7AAE-40AA-801C-A525E8C5E591}">
      <dsp:nvSpPr>
        <dsp:cNvPr id="0" name=""/>
        <dsp:cNvSpPr/>
      </dsp:nvSpPr>
      <dsp:spPr>
        <a:xfrm>
          <a:off x="0" y="2752421"/>
          <a:ext cx="8421511" cy="431730"/>
        </a:xfrm>
        <a:prstGeom prst="roundRect">
          <a:avLst/>
        </a:prstGeom>
        <a:solidFill>
          <a:schemeClr val="accent5">
            <a:shade val="80000"/>
            <a:hueOff val="232855"/>
            <a:satOff val="-4171"/>
            <a:lumOff val="177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Sketch a class hierarchy that relates all of the following classes in a reasonable manner:</a:t>
          </a:r>
        </a:p>
      </dsp:txBody>
      <dsp:txXfrm>
        <a:off x="21075" y="2773496"/>
        <a:ext cx="8379361" cy="389580"/>
      </dsp:txXfrm>
    </dsp:sp>
    <dsp:sp modelId="{2F141D62-75C8-4FFF-A1CE-43D14E353F07}">
      <dsp:nvSpPr>
        <dsp:cNvPr id="0" name=""/>
        <dsp:cNvSpPr/>
      </dsp:nvSpPr>
      <dsp:spPr>
        <a:xfrm>
          <a:off x="0" y="3184151"/>
          <a:ext cx="8421511" cy="4378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383"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Apple, Banana, Beef, Beverage, Cheese, Dairy Product, Food, Fruit, Green Bean, Meat, Milk, Pork, Spinach, Vegetable</a:t>
          </a:r>
        </a:p>
      </dsp:txBody>
      <dsp:txXfrm>
        <a:off x="0" y="3184151"/>
        <a:ext cx="8421511" cy="437805"/>
      </dsp:txXfrm>
    </dsp:sp>
    <dsp:sp modelId="{3095F33F-17C0-4781-842D-F323BBB7457E}">
      <dsp:nvSpPr>
        <dsp:cNvPr id="0" name=""/>
        <dsp:cNvSpPr/>
      </dsp:nvSpPr>
      <dsp:spPr>
        <a:xfrm>
          <a:off x="0" y="3621956"/>
          <a:ext cx="8421511" cy="431730"/>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Justify your answer, noting in particular any challenges that you faced in doing so.</a:t>
          </a:r>
        </a:p>
      </dsp:txBody>
      <dsp:txXfrm>
        <a:off x="21075" y="3643031"/>
        <a:ext cx="8379361" cy="38958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DE7B90-97FB-4D33-B66E-A70CE96E9910}">
      <dsp:nvSpPr>
        <dsp:cNvPr id="0" name=""/>
        <dsp:cNvSpPr/>
      </dsp:nvSpPr>
      <dsp:spPr>
        <a:xfrm>
          <a:off x="0" y="72175"/>
          <a:ext cx="8695690" cy="551655"/>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Study material</a:t>
          </a:r>
        </a:p>
      </dsp:txBody>
      <dsp:txXfrm>
        <a:off x="26930" y="99105"/>
        <a:ext cx="8641830" cy="497795"/>
      </dsp:txXfrm>
    </dsp:sp>
    <dsp:sp modelId="{1FA296BA-20E1-4F11-813A-9A9681B79A78}">
      <dsp:nvSpPr>
        <dsp:cNvPr id="0" name=""/>
        <dsp:cNvSpPr/>
      </dsp:nvSpPr>
      <dsp:spPr>
        <a:xfrm>
          <a:off x="0" y="623830"/>
          <a:ext cx="8695690"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6088"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Course in Pluralsight and LinkedIn on Object oriented programming using JavaScript</a:t>
          </a:r>
        </a:p>
      </dsp:txBody>
      <dsp:txXfrm>
        <a:off x="0" y="623830"/>
        <a:ext cx="8695690" cy="380880"/>
      </dsp:txXfrm>
    </dsp:sp>
    <dsp:sp modelId="{F7073D54-54C3-40FF-8BC4-A1C1B6A92F45}">
      <dsp:nvSpPr>
        <dsp:cNvPr id="0" name=""/>
        <dsp:cNvSpPr/>
      </dsp:nvSpPr>
      <dsp:spPr>
        <a:xfrm>
          <a:off x="0" y="1004710"/>
          <a:ext cx="8695690" cy="551655"/>
        </a:xfrm>
        <a:prstGeom prst="roundRect">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Reference material</a:t>
          </a:r>
        </a:p>
      </dsp:txBody>
      <dsp:txXfrm>
        <a:off x="26930" y="1031640"/>
        <a:ext cx="8641830" cy="497795"/>
      </dsp:txXfrm>
    </dsp:sp>
    <dsp:sp modelId="{E6883C08-F49E-4242-AC93-30B3F1DDD67B}">
      <dsp:nvSpPr>
        <dsp:cNvPr id="0" name=""/>
        <dsp:cNvSpPr/>
      </dsp:nvSpPr>
      <dsp:spPr>
        <a:xfrm>
          <a:off x="0" y="1556365"/>
          <a:ext cx="8695690"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6088"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Object Oriented modeling - </a:t>
          </a:r>
          <a:r>
            <a:rPr lang="en-US" sz="1800" kern="1200" dirty="0" err="1">
              <a:hlinkClick xmlns:r="http://schemas.openxmlformats.org/officeDocument/2006/relationships" r:id="rId1"/>
            </a:rPr>
            <a:t>eGyanKosh</a:t>
          </a:r>
          <a:r>
            <a:rPr lang="en-US" sz="1800" kern="1200" dirty="0">
              <a:hlinkClick xmlns:r="http://schemas.openxmlformats.org/officeDocument/2006/relationships" r:id="rId1"/>
            </a:rPr>
            <a:t>: MCS-032 Object Oriented Analysis and Design</a:t>
          </a:r>
          <a:r>
            <a:rPr lang="en-US" sz="1800" kern="1200" dirty="0"/>
            <a:t> </a:t>
          </a:r>
        </a:p>
      </dsp:txBody>
      <dsp:txXfrm>
        <a:off x="0" y="1556365"/>
        <a:ext cx="8695690" cy="3808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85AE93-5841-4327-96FF-35CEBD5111C7}" type="datetimeFigureOut">
              <a:rPr lang="en-US" smtClean="0"/>
              <a:t>6/29/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2E22FD5-8D40-4CBE-8410-B2035D9E491F}" type="slidenum">
              <a:rPr lang="en-US" smtClean="0"/>
              <a:t>‹#›</a:t>
            </a:fld>
            <a:endParaRPr lang="en-US"/>
          </a:p>
        </p:txBody>
      </p:sp>
    </p:spTree>
    <p:extLst>
      <p:ext uri="{BB962C8B-B14F-4D97-AF65-F5344CB8AC3E}">
        <p14:creationId xmlns:p14="http://schemas.microsoft.com/office/powerpoint/2010/main" val="27056002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yriad Pro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yriad Pro Regular" charset="0"/>
              </a:defRPr>
            </a:lvl1pPr>
          </a:lstStyle>
          <a:p>
            <a:fld id="{16DE233D-E708-7C4E-8AA1-F5FD5AD83E74}" type="datetimeFigureOut">
              <a:rPr lang="en-US" smtClean="0"/>
              <a:pPr/>
              <a:t>6/2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yriad Pro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yriad Pro Regular" charset="0"/>
              </a:defRPr>
            </a:lvl1pPr>
          </a:lstStyle>
          <a:p>
            <a:fld id="{89AB41BC-50FE-2648-A1A9-73E972326156}" type="slidenum">
              <a:rPr lang="en-US" smtClean="0"/>
              <a:pPr/>
              <a:t>‹#›</a:t>
            </a:fld>
            <a:endParaRPr lang="en-US" dirty="0"/>
          </a:p>
        </p:txBody>
      </p:sp>
    </p:spTree>
    <p:extLst>
      <p:ext uri="{BB962C8B-B14F-4D97-AF65-F5344CB8AC3E}">
        <p14:creationId xmlns:p14="http://schemas.microsoft.com/office/powerpoint/2010/main" val="673637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yriad Pro Regular" charset="0"/>
        <a:ea typeface="+mn-ea"/>
        <a:cs typeface="+mn-cs"/>
      </a:defRPr>
    </a:lvl1pPr>
    <a:lvl2pPr marL="457200" algn="l" defTabSz="914400" rtl="0" eaLnBrk="1" latinLnBrk="0" hangingPunct="1">
      <a:defRPr sz="1200" b="0" i="0" kern="1200">
        <a:solidFill>
          <a:schemeClr val="tx1"/>
        </a:solidFill>
        <a:latin typeface="Myriad Pro Regular" charset="0"/>
        <a:ea typeface="+mn-ea"/>
        <a:cs typeface="+mn-cs"/>
      </a:defRPr>
    </a:lvl2pPr>
    <a:lvl3pPr marL="914400" algn="l" defTabSz="914400" rtl="0" eaLnBrk="1" latinLnBrk="0" hangingPunct="1">
      <a:defRPr sz="1200" b="0" i="0" kern="1200">
        <a:solidFill>
          <a:schemeClr val="tx1"/>
        </a:solidFill>
        <a:latin typeface="Myriad Pro Regular" charset="0"/>
        <a:ea typeface="+mn-ea"/>
        <a:cs typeface="+mn-cs"/>
      </a:defRPr>
    </a:lvl3pPr>
    <a:lvl4pPr marL="1371600" algn="l" defTabSz="914400" rtl="0" eaLnBrk="1" latinLnBrk="0" hangingPunct="1">
      <a:defRPr sz="1200" b="0" i="0" kern="1200">
        <a:solidFill>
          <a:schemeClr val="tx1"/>
        </a:solidFill>
        <a:latin typeface="Myriad Pro Regular" charset="0"/>
        <a:ea typeface="+mn-ea"/>
        <a:cs typeface="+mn-cs"/>
      </a:defRPr>
    </a:lvl4pPr>
    <a:lvl5pPr marL="1828800" algn="l" defTabSz="914400" rtl="0" eaLnBrk="1" latinLnBrk="0" hangingPunct="1">
      <a:defRPr sz="1200" b="0" i="0" kern="1200">
        <a:solidFill>
          <a:schemeClr val="tx1"/>
        </a:solidFill>
        <a:latin typeface="Myriad Pro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76BC6D-5078-934C-B6A7-E2C1574B56B3}" type="slidenum">
              <a:rPr lang="en-US" smtClean="0"/>
              <a:t>1</a:t>
            </a:fld>
            <a:endParaRPr lang="en-US"/>
          </a:p>
        </p:txBody>
      </p:sp>
    </p:spTree>
    <p:extLst>
      <p:ext uri="{BB962C8B-B14F-4D97-AF65-F5344CB8AC3E}">
        <p14:creationId xmlns:p14="http://schemas.microsoft.com/office/powerpoint/2010/main" val="1649252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2894">
              <a:defRPr/>
            </a:pPr>
            <a:fld id="{E13E07A1-2926-49B1-9231-67F85B6D590A}" type="slidenum">
              <a:rPr lang="en-US" smtClean="0">
                <a:solidFill>
                  <a:prstClr val="black"/>
                </a:solidFill>
                <a:latin typeface="Calibri"/>
              </a:rPr>
              <a:pPr defTabSz="892894">
                <a:defRPr/>
              </a:pPr>
              <a:t>21</a:t>
            </a:fld>
            <a:endParaRPr lang="en-US">
              <a:solidFill>
                <a:prstClr val="black"/>
              </a:solidFill>
              <a:latin typeface="Calibri"/>
            </a:endParaRPr>
          </a:p>
        </p:txBody>
      </p:sp>
    </p:spTree>
    <p:extLst>
      <p:ext uri="{BB962C8B-B14F-4D97-AF65-F5344CB8AC3E}">
        <p14:creationId xmlns:p14="http://schemas.microsoft.com/office/powerpoint/2010/main" val="2561660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1a">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900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4" name="Title 3"/>
          <p:cNvSpPr>
            <a:spLocks noGrp="1"/>
          </p:cNvSpPr>
          <p:nvPr>
            <p:ph type="title"/>
          </p:nvPr>
        </p:nvSpPr>
        <p:spPr>
          <a:xfrm>
            <a:off x="476252" y="83774"/>
            <a:ext cx="8378188" cy="307777"/>
          </a:xfrm>
          <a:prstGeom prst="rect">
            <a:avLst/>
          </a:prstGeom>
        </p:spPr>
        <p:txBody>
          <a:bodyPr wrap="square" lIns="0" tIns="0" rIns="0" bIns="0" anchor="ctr" anchorCtr="0">
            <a:spAutoFit/>
          </a:bodyPr>
          <a:lstStyle>
            <a:lvl1pPr>
              <a:lnSpc>
                <a:spcPct val="100000"/>
              </a:lnSpc>
              <a:defRPr sz="2000">
                <a:latin typeface="Franklin Gothic Demi Cond" panose="020B0706030402020204" pitchFamily="34" charset="0"/>
              </a:defRPr>
            </a:lvl1pPr>
          </a:lstStyle>
          <a:p>
            <a:endParaRPr lang="en-US" dirty="0"/>
          </a:p>
        </p:txBody>
      </p:sp>
    </p:spTree>
    <p:extLst>
      <p:ext uri="{BB962C8B-B14F-4D97-AF65-F5344CB8AC3E}">
        <p14:creationId xmlns:p14="http://schemas.microsoft.com/office/powerpoint/2010/main" val="1438515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A1C8F-8F7D-412F-8501-1A68A8514B6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67"/>
          <a:stretch/>
        </p:blipFill>
        <p:spPr>
          <a:xfrm>
            <a:off x="0" y="0"/>
            <a:ext cx="9144000" cy="5143500"/>
          </a:xfrm>
          <a:prstGeom prst="rect">
            <a:avLst/>
          </a:prstGeom>
        </p:spPr>
      </p:pic>
    </p:spTree>
    <p:extLst>
      <p:ext uri="{BB962C8B-B14F-4D97-AF65-F5344CB8AC3E}">
        <p14:creationId xmlns:p14="http://schemas.microsoft.com/office/powerpoint/2010/main" val="1077175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tory Telling_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531C3C6-6438-47DD-8AE9-861B219C055E}"/>
              </a:ext>
            </a:extLst>
          </p:cNvPr>
          <p:cNvSpPr/>
          <p:nvPr userDrawn="1"/>
        </p:nvSpPr>
        <p:spPr>
          <a:xfrm>
            <a:off x="7257" y="0"/>
            <a:ext cx="9136743" cy="514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a:extLst>
              <a:ext uri="{FF2B5EF4-FFF2-40B4-BE49-F238E27FC236}">
                <a16:creationId xmlns:a16="http://schemas.microsoft.com/office/drawing/2014/main" id="{A711C1B1-EBFA-46BC-9072-20C9488E2C6E}"/>
              </a:ext>
            </a:extLst>
          </p:cNvPr>
          <p:cNvPicPr>
            <a:picLocks noChangeAspect="1"/>
          </p:cNvPicPr>
          <p:nvPr userDrawn="1"/>
        </p:nvPicPr>
        <p:blipFill rotWithShape="1">
          <a:blip r:embed="rId2"/>
          <a:srcRect t="7834" b="7834"/>
          <a:stretch/>
        </p:blipFill>
        <p:spPr>
          <a:xfrm>
            <a:off x="0" y="0"/>
            <a:ext cx="9144000" cy="5143500"/>
          </a:xfrm>
          <a:prstGeom prst="rect">
            <a:avLst/>
          </a:prstGeom>
        </p:spPr>
      </p:pic>
      <p:sp>
        <p:nvSpPr>
          <p:cNvPr id="10" name="Rectangle 9">
            <a:extLst>
              <a:ext uri="{FF2B5EF4-FFF2-40B4-BE49-F238E27FC236}">
                <a16:creationId xmlns:a16="http://schemas.microsoft.com/office/drawing/2014/main" id="{18D0FDF7-C80D-4EC7-98A0-402C6034976A}"/>
              </a:ext>
            </a:extLst>
          </p:cNvPr>
          <p:cNvSpPr/>
          <p:nvPr userDrawn="1"/>
        </p:nvSpPr>
        <p:spPr>
          <a:xfrm>
            <a:off x="0" y="1648591"/>
            <a:ext cx="5491942" cy="1846318"/>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defRPr/>
            </a:pPr>
            <a:endParaRPr lang="en-US" sz="1700">
              <a:solidFill>
                <a:prstClr val="white"/>
              </a:solidFill>
              <a:latin typeface="Franklin Gothic Book"/>
            </a:endParaRPr>
          </a:p>
        </p:txBody>
      </p:sp>
    </p:spTree>
    <p:extLst>
      <p:ext uri="{BB962C8B-B14F-4D97-AF65-F5344CB8AC3E}">
        <p14:creationId xmlns:p14="http://schemas.microsoft.com/office/powerpoint/2010/main" val="14591575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51CC6-D2FC-1D49-A069-ACBCC8E34A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C2F82B-2712-854C-9BE3-FFA4D943F3C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83636C-E397-8744-A142-E33E1F361388}"/>
              </a:ext>
            </a:extLst>
          </p:cNvPr>
          <p:cNvSpPr>
            <a:spLocks noGrp="1"/>
          </p:cNvSpPr>
          <p:nvPr>
            <p:ph type="dt" sz="half" idx="10"/>
          </p:nvPr>
        </p:nvSpPr>
        <p:spPr/>
        <p:txBody>
          <a:bodyPr/>
          <a:lstStyle/>
          <a:p>
            <a:fld id="{133E3F99-22B8-6641-A40B-BDD0EB02B992}" type="datetimeFigureOut">
              <a:rPr lang="en-US" smtClean="0"/>
              <a:t>6/29/2022</a:t>
            </a:fld>
            <a:endParaRPr lang="en-US"/>
          </a:p>
        </p:txBody>
      </p:sp>
      <p:sp>
        <p:nvSpPr>
          <p:cNvPr id="5" name="Footer Placeholder 4">
            <a:extLst>
              <a:ext uri="{FF2B5EF4-FFF2-40B4-BE49-F238E27FC236}">
                <a16:creationId xmlns:a16="http://schemas.microsoft.com/office/drawing/2014/main" id="{AE1886E5-4C2B-A949-A214-9EFF0AA060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4AEDCD-24D4-3442-A8DA-CA2F5854C3D9}"/>
              </a:ext>
            </a:extLst>
          </p:cNvPr>
          <p:cNvSpPr>
            <a:spLocks noGrp="1"/>
          </p:cNvSpPr>
          <p:nvPr>
            <p:ph type="sldNum" sz="quarter" idx="12"/>
          </p:nvPr>
        </p:nvSpPr>
        <p:spPr/>
        <p:txBody>
          <a:bodyPr/>
          <a:lstStyle/>
          <a:p>
            <a:fld id="{983F85AF-F7A8-9040-B7F7-989978671B03}" type="slidenum">
              <a:rPr lang="en-US" smtClean="0"/>
              <a:t>‹#›</a:t>
            </a:fld>
            <a:endParaRPr lang="en-US"/>
          </a:p>
        </p:txBody>
      </p:sp>
    </p:spTree>
    <p:extLst>
      <p:ext uri="{BB962C8B-B14F-4D97-AF65-F5344CB8AC3E}">
        <p14:creationId xmlns:p14="http://schemas.microsoft.com/office/powerpoint/2010/main" val="40574811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06006" y="4787238"/>
            <a:ext cx="4572000" cy="246221"/>
          </a:xfrm>
          <a:prstGeom prst="rect">
            <a:avLst/>
          </a:prstGeom>
        </p:spPr>
        <p:txBody>
          <a:bodyPr>
            <a:spAutoFit/>
          </a:bodyPr>
          <a:lstStyle/>
          <a:p>
            <a:r>
              <a:rPr lang="en-US" sz="1000" dirty="0">
                <a:solidFill>
                  <a:schemeClr val="tx1">
                    <a:lumMod val="50000"/>
                    <a:lumOff val="50000"/>
                  </a:schemeClr>
                </a:solidFill>
                <a:latin typeface="Franklin Gothic Book" panose="020B0503020102020204" pitchFamily="34" charset="0"/>
                <a:ea typeface="Myriad Pro Regular" charset="0"/>
                <a:cs typeface="Myriad Pro Regular" charset="0"/>
              </a:rPr>
              <a:t>Confidential and Proprietary. © 2019 UST Global Inc</a:t>
            </a:r>
          </a:p>
        </p:txBody>
      </p:sp>
      <p:sp>
        <p:nvSpPr>
          <p:cNvPr id="8" name="Rectangle 7"/>
          <p:cNvSpPr/>
          <p:nvPr userDrawn="1"/>
        </p:nvSpPr>
        <p:spPr>
          <a:xfrm>
            <a:off x="0" y="0"/>
            <a:ext cx="400050" cy="421931"/>
          </a:xfrm>
          <a:prstGeom prst="rect">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F01C24"/>
                </a:solidFill>
              </a:rPr>
              <a:t> </a:t>
            </a:r>
          </a:p>
        </p:txBody>
      </p:sp>
      <p:sp>
        <p:nvSpPr>
          <p:cNvPr id="4" name="Slide Number Placeholder 10"/>
          <p:cNvSpPr txBox="1">
            <a:spLocks/>
          </p:cNvSpPr>
          <p:nvPr userDrawn="1"/>
        </p:nvSpPr>
        <p:spPr>
          <a:xfrm>
            <a:off x="8544559" y="4923230"/>
            <a:ext cx="482443" cy="169277"/>
          </a:xfrm>
          <a:prstGeom prst="rect">
            <a:avLst/>
          </a:prstGeom>
        </p:spPr>
        <p:txBody>
          <a:bodyPr vert="horz" wrap="square" lIns="0" tIns="0" rIns="0" bIns="0" rtlCol="0" anchor="ctr">
            <a:spAutoFit/>
          </a:bodyPr>
          <a:lstStyle>
            <a:defPPr>
              <a:defRPr lang="en-US"/>
            </a:defPPr>
            <a:lvl1pPr marL="0" algn="r" defTabSz="892894" rtl="0" eaLnBrk="1" latinLnBrk="0" hangingPunct="1">
              <a:defRPr sz="1000" kern="1200">
                <a:solidFill>
                  <a:schemeClr val="accent3"/>
                </a:solidFill>
                <a:latin typeface="Helvetica"/>
                <a:ea typeface="+mn-ea"/>
                <a:cs typeface="Helvetica"/>
              </a:defRPr>
            </a:lvl1pPr>
            <a:lvl2pPr marL="446447" algn="l" defTabSz="892894" rtl="0" eaLnBrk="1" latinLnBrk="0" hangingPunct="1">
              <a:defRPr sz="1700" kern="1200">
                <a:solidFill>
                  <a:schemeClr val="tx1"/>
                </a:solidFill>
                <a:latin typeface="+mn-lt"/>
                <a:ea typeface="+mn-ea"/>
                <a:cs typeface="+mn-cs"/>
              </a:defRPr>
            </a:lvl2pPr>
            <a:lvl3pPr marL="892894" algn="l" defTabSz="892894" rtl="0" eaLnBrk="1" latinLnBrk="0" hangingPunct="1">
              <a:defRPr sz="1700" kern="1200">
                <a:solidFill>
                  <a:schemeClr val="tx1"/>
                </a:solidFill>
                <a:latin typeface="+mn-lt"/>
                <a:ea typeface="+mn-ea"/>
                <a:cs typeface="+mn-cs"/>
              </a:defRPr>
            </a:lvl3pPr>
            <a:lvl4pPr marL="1339340" algn="l" defTabSz="892894" rtl="0" eaLnBrk="1" latinLnBrk="0" hangingPunct="1">
              <a:defRPr sz="1700" kern="1200">
                <a:solidFill>
                  <a:schemeClr val="tx1"/>
                </a:solidFill>
                <a:latin typeface="+mn-lt"/>
                <a:ea typeface="+mn-ea"/>
                <a:cs typeface="+mn-cs"/>
              </a:defRPr>
            </a:lvl4pPr>
            <a:lvl5pPr marL="1785787" algn="l" defTabSz="892894" rtl="0" eaLnBrk="1" latinLnBrk="0" hangingPunct="1">
              <a:defRPr sz="1700" kern="1200">
                <a:solidFill>
                  <a:schemeClr val="tx1"/>
                </a:solidFill>
                <a:latin typeface="+mn-lt"/>
                <a:ea typeface="+mn-ea"/>
                <a:cs typeface="+mn-cs"/>
              </a:defRPr>
            </a:lvl5pPr>
            <a:lvl6pPr marL="2232234" algn="l" defTabSz="892894" rtl="0" eaLnBrk="1" latinLnBrk="0" hangingPunct="1">
              <a:defRPr sz="1700" kern="1200">
                <a:solidFill>
                  <a:schemeClr val="tx1"/>
                </a:solidFill>
                <a:latin typeface="+mn-lt"/>
                <a:ea typeface="+mn-ea"/>
                <a:cs typeface="+mn-cs"/>
              </a:defRPr>
            </a:lvl6pPr>
            <a:lvl7pPr marL="2678681" algn="l" defTabSz="892894" rtl="0" eaLnBrk="1" latinLnBrk="0" hangingPunct="1">
              <a:defRPr sz="1700" kern="1200">
                <a:solidFill>
                  <a:schemeClr val="tx1"/>
                </a:solidFill>
                <a:latin typeface="+mn-lt"/>
                <a:ea typeface="+mn-ea"/>
                <a:cs typeface="+mn-cs"/>
              </a:defRPr>
            </a:lvl7pPr>
            <a:lvl8pPr marL="3125127" algn="l" defTabSz="892894" rtl="0" eaLnBrk="1" latinLnBrk="0" hangingPunct="1">
              <a:defRPr sz="1700" kern="1200">
                <a:solidFill>
                  <a:schemeClr val="tx1"/>
                </a:solidFill>
                <a:latin typeface="+mn-lt"/>
                <a:ea typeface="+mn-ea"/>
                <a:cs typeface="+mn-cs"/>
              </a:defRPr>
            </a:lvl8pPr>
            <a:lvl9pPr marL="3571574" algn="l" defTabSz="892894" rtl="0" eaLnBrk="1" latinLnBrk="0" hangingPunct="1">
              <a:defRPr sz="1700" kern="1200">
                <a:solidFill>
                  <a:schemeClr val="tx1"/>
                </a:solidFill>
                <a:latin typeface="+mn-lt"/>
                <a:ea typeface="+mn-ea"/>
                <a:cs typeface="+mn-cs"/>
              </a:defRPr>
            </a:lvl9pPr>
          </a:lstStyle>
          <a:p>
            <a:pPr algn="ctr"/>
            <a:r>
              <a:rPr lang="en-US" sz="1100" b="0" dirty="0">
                <a:solidFill>
                  <a:schemeClr val="tx1">
                    <a:lumMod val="60000"/>
                    <a:lumOff val="40000"/>
                  </a:schemeClr>
                </a:solidFill>
                <a:latin typeface="+mn-lt"/>
                <a:cs typeface="DokChampa" panose="020B0604020202020204" pitchFamily="34" charset="-34"/>
              </a:rPr>
              <a:t> </a:t>
            </a:r>
            <a:fld id="{110FD68B-4EE4-9D43-89F2-B87D6C9CEE3A}" type="slidenum">
              <a:rPr lang="en-US" sz="1050" b="0" smtClean="0">
                <a:solidFill>
                  <a:schemeClr val="tx1">
                    <a:lumMod val="60000"/>
                    <a:lumOff val="40000"/>
                  </a:schemeClr>
                </a:solidFill>
                <a:latin typeface="+mn-lt"/>
                <a:cs typeface="DokChampa" panose="020B0604020202020204" pitchFamily="34" charset="-34"/>
              </a:rPr>
              <a:pPr algn="ctr"/>
              <a:t>‹#›</a:t>
            </a:fld>
            <a:endParaRPr lang="en-US" sz="1100" b="0" dirty="0">
              <a:solidFill>
                <a:schemeClr val="tx1">
                  <a:lumMod val="60000"/>
                  <a:lumOff val="40000"/>
                </a:schemeClr>
              </a:solidFill>
              <a:latin typeface="+mn-lt"/>
              <a:cs typeface="DokChampa" panose="020B0604020202020204" pitchFamily="34" charset="-34"/>
            </a:endParaRPr>
          </a:p>
        </p:txBody>
      </p:sp>
    </p:spTree>
    <p:extLst>
      <p:ext uri="{BB962C8B-B14F-4D97-AF65-F5344CB8AC3E}">
        <p14:creationId xmlns:p14="http://schemas.microsoft.com/office/powerpoint/2010/main" val="575119451"/>
      </p:ext>
    </p:extLst>
  </p:cSld>
  <p:clrMap bg1="lt1" tx1="dk1" bg2="lt2" tx2="dk2" accent1="accent1" accent2="accent2" accent3="accent3" accent4="accent4" accent5="accent5" accent6="accent6" hlink="hlink" folHlink="folHlink"/>
  <p:sldLayoutIdLst>
    <p:sldLayoutId id="2147483744" r:id="rId1"/>
    <p:sldLayoutId id="2147483933" r:id="rId2"/>
    <p:sldLayoutId id="2147483940" r:id="rId3"/>
    <p:sldLayoutId id="2147483958" r:id="rId4"/>
    <p:sldLayoutId id="2147483959" r:id="rId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tags" Target="../tags/tag15.xml"/><Relationship Id="rId7" Type="http://schemas.openxmlformats.org/officeDocument/2006/relationships/diagramData" Target="../diagrams/data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8.emf"/><Relationship Id="rId11" Type="http://schemas.microsoft.com/office/2007/relationships/diagramDrawing" Target="../diagrams/drawing8.xml"/><Relationship Id="rId5" Type="http://schemas.openxmlformats.org/officeDocument/2006/relationships/oleObject" Target="../embeddings/oleObject1.bin"/><Relationship Id="rId10" Type="http://schemas.openxmlformats.org/officeDocument/2006/relationships/diagramColors" Target="../diagrams/colors8.xml"/><Relationship Id="rId4" Type="http://schemas.openxmlformats.org/officeDocument/2006/relationships/slideLayout" Target="../slideLayouts/slideLayout2.xml"/><Relationship Id="rId9" Type="http://schemas.openxmlformats.org/officeDocument/2006/relationships/diagramQuickStyle" Target="../diagrams/quickStyle8.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tags" Target="../tags/tag17.xml"/><Relationship Id="rId7" Type="http://schemas.openxmlformats.org/officeDocument/2006/relationships/diagramData" Target="../diagrams/data9.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8.emf"/><Relationship Id="rId11" Type="http://schemas.microsoft.com/office/2007/relationships/diagramDrawing" Target="../diagrams/drawing9.xml"/><Relationship Id="rId5" Type="http://schemas.openxmlformats.org/officeDocument/2006/relationships/oleObject" Target="../embeddings/oleObject1.bin"/><Relationship Id="rId10" Type="http://schemas.openxmlformats.org/officeDocument/2006/relationships/diagramColors" Target="../diagrams/colors9.xml"/><Relationship Id="rId4" Type="http://schemas.openxmlformats.org/officeDocument/2006/relationships/slideLayout" Target="../slideLayouts/slideLayout2.xml"/><Relationship Id="rId9" Type="http://schemas.openxmlformats.org/officeDocument/2006/relationships/diagramQuickStyle" Target="../diagrams/quickStyle9.xml"/></Relationships>
</file>

<file path=ppt/slides/_rels/slide12.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tags" Target="../tags/tag27.xml"/><Relationship Id="rId7" Type="http://schemas.openxmlformats.org/officeDocument/2006/relationships/diagramData" Target="../diagrams/data10.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8.emf"/><Relationship Id="rId11" Type="http://schemas.microsoft.com/office/2007/relationships/diagramDrawing" Target="../diagrams/drawing10.xml"/><Relationship Id="rId5" Type="http://schemas.openxmlformats.org/officeDocument/2006/relationships/oleObject" Target="../embeddings/oleObject2.bin"/><Relationship Id="rId10" Type="http://schemas.openxmlformats.org/officeDocument/2006/relationships/diagramColors" Target="../diagrams/colors10.xml"/><Relationship Id="rId4" Type="http://schemas.openxmlformats.org/officeDocument/2006/relationships/slideLayout" Target="../slideLayouts/slideLayout2.xml"/><Relationship Id="rId9" Type="http://schemas.openxmlformats.org/officeDocument/2006/relationships/diagramQuickStyle" Target="../diagrams/quickStyle10.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tags" Target="../tags/tag29.xml"/><Relationship Id="rId7" Type="http://schemas.openxmlformats.org/officeDocument/2006/relationships/diagramData" Target="../diagrams/data11.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8.emf"/><Relationship Id="rId11" Type="http://schemas.microsoft.com/office/2007/relationships/diagramDrawing" Target="../diagrams/drawing11.xml"/><Relationship Id="rId5" Type="http://schemas.openxmlformats.org/officeDocument/2006/relationships/oleObject" Target="../embeddings/oleObject2.bin"/><Relationship Id="rId10" Type="http://schemas.openxmlformats.org/officeDocument/2006/relationships/diagramColors" Target="../diagrams/colors11.xml"/><Relationship Id="rId4" Type="http://schemas.openxmlformats.org/officeDocument/2006/relationships/slideLayout" Target="../slideLayouts/slideLayout2.xml"/><Relationship Id="rId9" Type="http://schemas.openxmlformats.org/officeDocument/2006/relationships/diagramQuickStyle" Target="../diagrams/quickStyle11.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tags" Target="../tags/tag31.xml"/><Relationship Id="rId7" Type="http://schemas.openxmlformats.org/officeDocument/2006/relationships/diagramData" Target="../diagrams/data12.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8.emf"/><Relationship Id="rId11" Type="http://schemas.microsoft.com/office/2007/relationships/diagramDrawing" Target="../diagrams/drawing12.xml"/><Relationship Id="rId5" Type="http://schemas.openxmlformats.org/officeDocument/2006/relationships/oleObject" Target="../embeddings/oleObject3.bin"/><Relationship Id="rId10" Type="http://schemas.openxmlformats.org/officeDocument/2006/relationships/diagramColors" Target="../diagrams/colors12.xml"/><Relationship Id="rId4" Type="http://schemas.openxmlformats.org/officeDocument/2006/relationships/slideLayout" Target="../slideLayouts/slideLayout2.xml"/><Relationship Id="rId9" Type="http://schemas.openxmlformats.org/officeDocument/2006/relationships/diagramQuickStyle" Target="../diagrams/quickStyle12.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tags" Target="../tags/tag33.xml"/><Relationship Id="rId7" Type="http://schemas.openxmlformats.org/officeDocument/2006/relationships/diagramData" Target="../diagrams/data1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8.emf"/><Relationship Id="rId11" Type="http://schemas.microsoft.com/office/2007/relationships/diagramDrawing" Target="../diagrams/drawing13.xml"/><Relationship Id="rId5" Type="http://schemas.openxmlformats.org/officeDocument/2006/relationships/oleObject" Target="../embeddings/oleObject4.bin"/><Relationship Id="rId10" Type="http://schemas.openxmlformats.org/officeDocument/2006/relationships/diagramColors" Target="../diagrams/colors13.xml"/><Relationship Id="rId4" Type="http://schemas.openxmlformats.org/officeDocument/2006/relationships/slideLayout" Target="../slideLayouts/slideLayout2.xml"/><Relationship Id="rId9" Type="http://schemas.openxmlformats.org/officeDocument/2006/relationships/diagramQuickStyle" Target="../diagrams/quickStyle1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tags" Target="../tags/tag35.xml"/><Relationship Id="rId7" Type="http://schemas.openxmlformats.org/officeDocument/2006/relationships/diagramData" Target="../diagrams/data14.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8.emf"/><Relationship Id="rId11" Type="http://schemas.microsoft.com/office/2007/relationships/diagramDrawing" Target="../diagrams/drawing14.xml"/><Relationship Id="rId5" Type="http://schemas.openxmlformats.org/officeDocument/2006/relationships/oleObject" Target="../embeddings/oleObject4.bin"/><Relationship Id="rId10" Type="http://schemas.openxmlformats.org/officeDocument/2006/relationships/diagramColors" Target="../diagrams/colors14.xml"/><Relationship Id="rId4" Type="http://schemas.openxmlformats.org/officeDocument/2006/relationships/slideLayout" Target="../slideLayouts/slideLayout2.xml"/><Relationship Id="rId9" Type="http://schemas.openxmlformats.org/officeDocument/2006/relationships/diagramQuickStyle" Target="../diagrams/quickStyle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18" Type="http://schemas.openxmlformats.org/officeDocument/2006/relationships/image" Target="../media/image6.png"/><Relationship Id="rId3" Type="http://schemas.openxmlformats.org/officeDocument/2006/relationships/diagramLayout" Target="../diagrams/layout2.xml"/><Relationship Id="rId7" Type="http://schemas.openxmlformats.org/officeDocument/2006/relationships/image" Target="../media/image5.png"/><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diagramData" Target="../diagrams/data2.xml"/><Relationship Id="rId16" Type="http://schemas.openxmlformats.org/officeDocument/2006/relationships/diagramColors" Target="../diagrams/colors4.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diagramColors" Target="../diagrams/colors3.xml"/><Relationship Id="rId5" Type="http://schemas.openxmlformats.org/officeDocument/2006/relationships/diagramColors" Target="../diagrams/colors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19" Type="http://schemas.openxmlformats.org/officeDocument/2006/relationships/image" Target="../media/image7.png"/><Relationship Id="rId4" Type="http://schemas.openxmlformats.org/officeDocument/2006/relationships/diagramQuickStyle" Target="../diagrams/quickStyle2.xml"/><Relationship Id="rId9" Type="http://schemas.openxmlformats.org/officeDocument/2006/relationships/diagramLayout" Target="../diagrams/layout3.xml"/><Relationship Id="rId1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9.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hyperlink" Target="https://www.slideshare.net/VarunGarg7/lect-1-introduction-to-programming-languages" TargetMode="External"/><Relationship Id="rId3" Type="http://schemas.openxmlformats.org/officeDocument/2006/relationships/tags" Target="../tags/tag5.xml"/><Relationship Id="rId7" Type="http://schemas.openxmlformats.org/officeDocument/2006/relationships/hyperlink" Target="https://www.geeksforgeeks.org/introduction-to-programming-languages/" TargetMode="Externa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2.xml"/><Relationship Id="rId9" Type="http://schemas.openxmlformats.org/officeDocument/2006/relationships/hyperlink" Target="https://app.pluralsight.com/library/courses/javascript-getting-started/table-of-contents" TargetMode="Externa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tags" Target="../tags/tag9.xml"/><Relationship Id="rId7" Type="http://schemas.openxmlformats.org/officeDocument/2006/relationships/diagramData" Target="../diagrams/data5.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8.emf"/><Relationship Id="rId11" Type="http://schemas.microsoft.com/office/2007/relationships/diagramDrawing" Target="../diagrams/drawing5.xml"/><Relationship Id="rId5" Type="http://schemas.openxmlformats.org/officeDocument/2006/relationships/oleObject" Target="../embeddings/oleObject1.bin"/><Relationship Id="rId10" Type="http://schemas.openxmlformats.org/officeDocument/2006/relationships/diagramColors" Target="../diagrams/colors5.xml"/><Relationship Id="rId4" Type="http://schemas.openxmlformats.org/officeDocument/2006/relationships/slideLayout" Target="../slideLayouts/slideLayout2.xml"/><Relationship Id="rId9"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tags" Target="../tags/tag11.xml"/><Relationship Id="rId7" Type="http://schemas.openxmlformats.org/officeDocument/2006/relationships/diagramData" Target="../diagrams/data6.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1.bin"/><Relationship Id="rId10" Type="http://schemas.openxmlformats.org/officeDocument/2006/relationships/diagramColors" Target="../diagrams/colors6.xml"/><Relationship Id="rId4" Type="http://schemas.openxmlformats.org/officeDocument/2006/relationships/slideLayout" Target="../slideLayouts/slideLayout2.xml"/><Relationship Id="rId9"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tags" Target="../tags/tag13.xml"/><Relationship Id="rId7" Type="http://schemas.openxmlformats.org/officeDocument/2006/relationships/diagramData" Target="../diagrams/data7.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8.emf"/><Relationship Id="rId11" Type="http://schemas.microsoft.com/office/2007/relationships/diagramDrawing" Target="../diagrams/drawing7.xml"/><Relationship Id="rId5" Type="http://schemas.openxmlformats.org/officeDocument/2006/relationships/oleObject" Target="../embeddings/oleObject1.bin"/><Relationship Id="rId10" Type="http://schemas.openxmlformats.org/officeDocument/2006/relationships/diagramColors" Target="../diagrams/colors7.xml"/><Relationship Id="rId4" Type="http://schemas.openxmlformats.org/officeDocument/2006/relationships/slideLayout" Target="../slideLayouts/slideLayout2.xml"/><Relationship Id="rId9"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C71D93-4ED9-6740-8232-CD32C820C645}"/>
              </a:ext>
            </a:extLst>
          </p:cNvPr>
          <p:cNvSpPr/>
          <p:nvPr/>
        </p:nvSpPr>
        <p:spPr>
          <a:xfrm>
            <a:off x="0" y="3749040"/>
            <a:ext cx="9144000" cy="1394460"/>
          </a:xfrm>
          <a:prstGeom prst="rect">
            <a:avLst/>
          </a:prstGeom>
          <a:solidFill>
            <a:srgbClr val="0079C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68BF38B3-BDBA-B340-A6D3-53AABF43771B}"/>
              </a:ext>
            </a:extLst>
          </p:cNvPr>
          <p:cNvSpPr txBox="1">
            <a:spLocks/>
          </p:cNvSpPr>
          <p:nvPr/>
        </p:nvSpPr>
        <p:spPr>
          <a:xfrm>
            <a:off x="155644" y="3828360"/>
            <a:ext cx="8784076" cy="1173563"/>
          </a:xfrm>
          <a:prstGeom prst="rect">
            <a:avLst/>
          </a:prstGeom>
          <a:no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50" b="1" dirty="0">
                <a:solidFill>
                  <a:schemeClr val="bg1"/>
                </a:solidFill>
              </a:rPr>
              <a:t>Freshers Training Plan – Services Team </a:t>
            </a:r>
            <a:endParaRPr lang="en-US" sz="2850" dirty="0">
              <a:solidFill>
                <a:schemeClr val="bg1"/>
              </a:solidFill>
            </a:endParaRPr>
          </a:p>
        </p:txBody>
      </p:sp>
      <p:sp>
        <p:nvSpPr>
          <p:cNvPr id="3" name="Rectangle 2">
            <a:extLst>
              <a:ext uri="{FF2B5EF4-FFF2-40B4-BE49-F238E27FC236}">
                <a16:creationId xmlns:a16="http://schemas.microsoft.com/office/drawing/2014/main" id="{EE645202-BE0E-A443-A376-51A84F854F87}"/>
              </a:ext>
            </a:extLst>
          </p:cNvPr>
          <p:cNvSpPr/>
          <p:nvPr/>
        </p:nvSpPr>
        <p:spPr>
          <a:xfrm>
            <a:off x="7572891" y="0"/>
            <a:ext cx="1571109" cy="818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Placeholder 6">
            <a:extLst>
              <a:ext uri="{FF2B5EF4-FFF2-40B4-BE49-F238E27FC236}">
                <a16:creationId xmlns:a16="http://schemas.microsoft.com/office/drawing/2014/main" id="{2C1C8D72-EFE2-E74F-AA9A-8030786C745D}"/>
              </a:ext>
            </a:extLst>
          </p:cNvPr>
          <p:cNvPicPr>
            <a:picLocks noChangeAspect="1"/>
          </p:cNvPicPr>
          <p:nvPr/>
        </p:nvPicPr>
        <p:blipFill>
          <a:blip r:embed="rId3" cstate="screen">
            <a:extLst>
              <a:ext uri="{28A0092B-C50C-407E-A947-70E740481C1C}">
                <a14:useLocalDpi xmlns:a14="http://schemas.microsoft.com/office/drawing/2010/main"/>
              </a:ext>
            </a:extLst>
          </a:blip>
          <a:srcRect t="9" b="9"/>
          <a:stretch>
            <a:fillRect/>
          </a:stretch>
        </p:blipFill>
        <p:spPr>
          <a:xfrm>
            <a:off x="7604821" y="74463"/>
            <a:ext cx="1539179" cy="680240"/>
          </a:xfrm>
          <a:prstGeom prst="rect">
            <a:avLst/>
          </a:prstGeom>
        </p:spPr>
      </p:pic>
      <p:pic>
        <p:nvPicPr>
          <p:cNvPr id="18" name="Picture 17"/>
          <p:cNvPicPr>
            <a:picLocks noChangeAspect="1"/>
          </p:cNvPicPr>
          <p:nvPr/>
        </p:nvPicPr>
        <p:blipFill>
          <a:blip r:embed="rId4"/>
          <a:stretch>
            <a:fillRect/>
          </a:stretch>
        </p:blipFill>
        <p:spPr>
          <a:xfrm>
            <a:off x="0" y="1"/>
            <a:ext cx="9144000" cy="3749040"/>
          </a:xfrm>
          <a:prstGeom prst="rect">
            <a:avLst/>
          </a:prstGeom>
        </p:spPr>
      </p:pic>
    </p:spTree>
    <p:extLst>
      <p:ext uri="{BB962C8B-B14F-4D97-AF65-F5344CB8AC3E}">
        <p14:creationId xmlns:p14="http://schemas.microsoft.com/office/powerpoint/2010/main" val="2748174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3"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615553"/>
          </a:xfrm>
        </p:spPr>
        <p:txBody>
          <a:bodyPr anchor="t" anchorCtr="0"/>
          <a:lstStyle/>
          <a:p>
            <a:r>
              <a:rPr lang="en-US" dirty="0"/>
              <a:t>Day 2 – Object Oriented Programming - Measure</a:t>
            </a:r>
            <a:br>
              <a:rPr lang="en-US" dirty="0"/>
            </a:br>
            <a:endParaRPr lang="en-US" dirty="0"/>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9C85341C-2FA5-4F94-B57C-B92FF3783FA6}"/>
              </a:ext>
            </a:extLst>
          </p:cNvPr>
          <p:cNvGraphicFramePr/>
          <p:nvPr>
            <p:extLst>
              <p:ext uri="{D42A27DB-BD31-4B8C-83A1-F6EECF244321}">
                <p14:modId xmlns:p14="http://schemas.microsoft.com/office/powerpoint/2010/main" val="3910218278"/>
              </p:ext>
            </p:extLst>
          </p:nvPr>
        </p:nvGraphicFramePr>
        <p:xfrm>
          <a:off x="248356" y="425417"/>
          <a:ext cx="8421511" cy="424731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79002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7"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3 – Object Oriented Programming</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7" name="Diagram 6">
            <a:extLst>
              <a:ext uri="{FF2B5EF4-FFF2-40B4-BE49-F238E27FC236}">
                <a16:creationId xmlns:a16="http://schemas.microsoft.com/office/drawing/2014/main" id="{363B5B46-12AF-4AD2-9AB4-D47D30BCF740}"/>
              </a:ext>
            </a:extLst>
          </p:cNvPr>
          <p:cNvGraphicFramePr/>
          <p:nvPr>
            <p:extLst>
              <p:ext uri="{D42A27DB-BD31-4B8C-83A1-F6EECF244321}">
                <p14:modId xmlns:p14="http://schemas.microsoft.com/office/powerpoint/2010/main" val="320775657"/>
              </p:ext>
            </p:extLst>
          </p:nvPr>
        </p:nvGraphicFramePr>
        <p:xfrm>
          <a:off x="158750" y="632526"/>
          <a:ext cx="8695690" cy="200942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192794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3 – Introduction to Object Orientated Programming using JavaScript</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527534138"/>
              </p:ext>
            </p:extLst>
          </p:nvPr>
        </p:nvGraphicFramePr>
        <p:xfrm>
          <a:off x="113211" y="632526"/>
          <a:ext cx="8971154" cy="2351364"/>
        </p:xfrm>
        <a:graphic>
          <a:graphicData uri="http://schemas.openxmlformats.org/drawingml/2006/table">
            <a:tbl>
              <a:tblPr firstRow="1" bandRow="1">
                <a:tableStyleId>{7DF18680-E054-41AD-8BC1-D1AEF772440D}</a:tableStyleId>
              </a:tblPr>
              <a:tblGrid>
                <a:gridCol w="1522925">
                  <a:extLst>
                    <a:ext uri="{9D8B030D-6E8A-4147-A177-3AD203B41FA5}">
                      <a16:colId xmlns:a16="http://schemas.microsoft.com/office/drawing/2014/main" val="1835673438"/>
                    </a:ext>
                  </a:extLst>
                </a:gridCol>
                <a:gridCol w="3124708">
                  <a:extLst>
                    <a:ext uri="{9D8B030D-6E8A-4147-A177-3AD203B41FA5}">
                      <a16:colId xmlns:a16="http://schemas.microsoft.com/office/drawing/2014/main" val="1996137512"/>
                    </a:ext>
                  </a:extLst>
                </a:gridCol>
                <a:gridCol w="4323521">
                  <a:extLst>
                    <a:ext uri="{9D8B030D-6E8A-4147-A177-3AD203B41FA5}">
                      <a16:colId xmlns:a16="http://schemas.microsoft.com/office/drawing/2014/main" val="3437017552"/>
                    </a:ext>
                  </a:extLst>
                </a:gridCol>
              </a:tblGrid>
              <a:tr h="450681">
                <a:tc>
                  <a:txBody>
                    <a:bodyPr/>
                    <a:lstStyle/>
                    <a:p>
                      <a:r>
                        <a:rPr lang="en-US" dirty="0"/>
                        <a:t>Topic</a:t>
                      </a:r>
                    </a:p>
                  </a:txBody>
                  <a:tcPr/>
                </a:tc>
                <a:tc>
                  <a:txBody>
                    <a:bodyPr/>
                    <a:lstStyle/>
                    <a:p>
                      <a:r>
                        <a:rPr lang="en-US" dirty="0"/>
                        <a:t>References </a:t>
                      </a:r>
                    </a:p>
                  </a:txBody>
                  <a:tcPr/>
                </a:tc>
                <a:tc>
                  <a:txBody>
                    <a:bodyPr/>
                    <a:lstStyle/>
                    <a:p>
                      <a:r>
                        <a:rPr lang="en-US" dirty="0"/>
                        <a:t>Measure</a:t>
                      </a:r>
                    </a:p>
                  </a:txBody>
                  <a:tcPr/>
                </a:tc>
                <a:extLst>
                  <a:ext uri="{0D108BD9-81ED-4DB2-BD59-A6C34878D82A}">
                    <a16:rowId xmlns:a16="http://schemas.microsoft.com/office/drawing/2014/main" val="116310751"/>
                  </a:ext>
                </a:extLst>
              </a:tr>
              <a:tr h="45068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lasses, Objects, Properties, Methods, </a:t>
                      </a:r>
                    </a:p>
                  </a:txBody>
                  <a:tcPr/>
                </a:tc>
                <a:tc>
                  <a:txBody>
                    <a:bodyPr/>
                    <a:lstStyle/>
                    <a:p>
                      <a:r>
                        <a:rPr lang="en-US" sz="1000" kern="1200" dirty="0">
                          <a:solidFill>
                            <a:schemeClr val="dk1"/>
                          </a:solidFill>
                          <a:latin typeface="Franklin Gothic Medium" panose="020B0603020102020204" pitchFamily="34" charset="0"/>
                          <a:ea typeface="+mn-ea"/>
                          <a:cs typeface="+mn-cs"/>
                        </a:rPr>
                        <a:t>Courses in Pluralsight and LinkedIn</a:t>
                      </a:r>
                    </a:p>
                  </a:txBody>
                  <a:tcPr/>
                </a:tc>
                <a:tc>
                  <a:txBody>
                    <a:bodyPr/>
                    <a:lstStyle/>
                    <a:p>
                      <a:r>
                        <a:rPr lang="en-US" sz="1000" kern="1200" dirty="0">
                          <a:solidFill>
                            <a:schemeClr val="dk1"/>
                          </a:solidFill>
                          <a:latin typeface="Franklin Gothic Medium" panose="020B0603020102020204" pitchFamily="34" charset="0"/>
                          <a:ea typeface="+mn-ea"/>
                          <a:cs typeface="+mn-cs"/>
                        </a:rPr>
                        <a:t>Please implement day-2 class hierarchies in JavaScript</a:t>
                      </a:r>
                    </a:p>
                  </a:txBody>
                  <a:tcPr/>
                </a:tc>
                <a:extLst>
                  <a:ext uri="{0D108BD9-81ED-4DB2-BD59-A6C34878D82A}">
                    <a16:rowId xmlns:a16="http://schemas.microsoft.com/office/drawing/2014/main" val="1987283087"/>
                  </a:ext>
                </a:extLst>
              </a:tr>
              <a:tr h="45068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Franklin Gothic Medium" panose="020B0603020102020204" pitchFamily="34" charset="0"/>
                          <a:ea typeface="+mn-ea"/>
                          <a:cs typeface="+mn-cs"/>
                        </a:rPr>
                        <a:t>Collection of objects</a:t>
                      </a:r>
                      <a:endParaRPr lang="en-US" sz="1000" kern="1200" dirty="0">
                        <a:solidFill>
                          <a:schemeClr val="dk1"/>
                        </a:solidFill>
                        <a:latin typeface="Franklin Gothic Medium" panose="020B0603020102020204" pitchFamily="34" charset="0"/>
                        <a:ea typeface="+mn-ea"/>
                        <a:cs typeface="+mn-cs"/>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Create a List to store multiple employee objects</a:t>
                      </a:r>
                    </a:p>
                    <a:p>
                      <a:r>
                        <a:rPr lang="en-US" sz="1000" kern="1200" dirty="0">
                          <a:solidFill>
                            <a:schemeClr val="dk1"/>
                          </a:solidFill>
                          <a:latin typeface="Franklin Gothic Medium" panose="020B0603020102020204" pitchFamily="34" charset="0"/>
                          <a:ea typeface="+mn-ea"/>
                          <a:cs typeface="+mn-cs"/>
                        </a:rPr>
                        <a:t>Display the employees based on the category choice by the user</a:t>
                      </a:r>
                    </a:p>
                    <a:p>
                      <a:r>
                        <a:rPr lang="en-US" sz="1000" kern="1200" dirty="0">
                          <a:solidFill>
                            <a:schemeClr val="dk1"/>
                          </a:solidFill>
                          <a:latin typeface="Franklin Gothic Medium" panose="020B0603020102020204" pitchFamily="34" charset="0"/>
                          <a:ea typeface="+mn-ea"/>
                          <a:cs typeface="+mn-cs"/>
                        </a:rPr>
                        <a:t>Categories would be martial status or grade in graduation</a:t>
                      </a:r>
                    </a:p>
                  </a:txBody>
                  <a:tcPr/>
                </a:tc>
                <a:extLst>
                  <a:ext uri="{0D108BD9-81ED-4DB2-BD59-A6C34878D82A}">
                    <a16:rowId xmlns:a16="http://schemas.microsoft.com/office/drawing/2014/main" val="485893023"/>
                  </a:ext>
                </a:extLst>
              </a:tr>
              <a:tr h="450681">
                <a:tc>
                  <a:txBody>
                    <a:bodyPr/>
                    <a:lstStyle/>
                    <a:p>
                      <a:r>
                        <a:rPr lang="en-US" sz="1000" kern="1200" dirty="0">
                          <a:solidFill>
                            <a:schemeClr val="dk1"/>
                          </a:solidFill>
                          <a:latin typeface="Franklin Gothic Medium" panose="020B0603020102020204" pitchFamily="34" charset="0"/>
                          <a:ea typeface="+mn-ea"/>
                          <a:cs typeface="+mn-cs"/>
                        </a:rPr>
                        <a:t>Relationship</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Implement class association, aggregation and changes in cardinality in the models</a:t>
                      </a:r>
                    </a:p>
                  </a:txBody>
                  <a:tcPr/>
                </a:tc>
                <a:extLst>
                  <a:ext uri="{0D108BD9-81ED-4DB2-BD59-A6C34878D82A}">
                    <a16:rowId xmlns:a16="http://schemas.microsoft.com/office/drawing/2014/main" val="2913857713"/>
                  </a:ext>
                </a:extLst>
              </a:tr>
              <a:tr h="450681">
                <a:tc>
                  <a:txBody>
                    <a:bodyPr/>
                    <a:lstStyle/>
                    <a:p>
                      <a:r>
                        <a:rPr lang="en-US" sz="1000" kern="1200" dirty="0">
                          <a:solidFill>
                            <a:schemeClr val="dk1"/>
                          </a:solidFill>
                          <a:latin typeface="Franklin Gothic Medium" panose="020B0603020102020204" pitchFamily="34" charset="0"/>
                          <a:ea typeface="+mn-ea"/>
                          <a:cs typeface="+mn-cs"/>
                        </a:rPr>
                        <a:t>Relationship</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Implement class inheritance in models</a:t>
                      </a:r>
                    </a:p>
                  </a:txBody>
                  <a:tcPr/>
                </a:tc>
                <a:extLst>
                  <a:ext uri="{0D108BD9-81ED-4DB2-BD59-A6C34878D82A}">
                    <a16:rowId xmlns:a16="http://schemas.microsoft.com/office/drawing/2014/main" val="3155591978"/>
                  </a:ext>
                </a:extLst>
              </a:tr>
            </a:tbl>
          </a:graphicData>
        </a:graphic>
      </p:graphicFrame>
    </p:spTree>
    <p:extLst>
      <p:ext uri="{BB962C8B-B14F-4D97-AF65-F5344CB8AC3E}">
        <p14:creationId xmlns:p14="http://schemas.microsoft.com/office/powerpoint/2010/main" val="27060471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4 – Introduction to Object Orientated Programming using JavaScript</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3" name="Table 2"/>
          <p:cNvGraphicFramePr>
            <a:graphicFrameLocks noGrp="1"/>
          </p:cNvGraphicFramePr>
          <p:nvPr/>
        </p:nvGraphicFramePr>
        <p:xfrm>
          <a:off x="113211" y="632526"/>
          <a:ext cx="8971154" cy="2351364"/>
        </p:xfrm>
        <a:graphic>
          <a:graphicData uri="http://schemas.openxmlformats.org/drawingml/2006/table">
            <a:tbl>
              <a:tblPr firstRow="1" bandRow="1">
                <a:tableStyleId>{7DF18680-E054-41AD-8BC1-D1AEF772440D}</a:tableStyleId>
              </a:tblPr>
              <a:tblGrid>
                <a:gridCol w="1522925">
                  <a:extLst>
                    <a:ext uri="{9D8B030D-6E8A-4147-A177-3AD203B41FA5}">
                      <a16:colId xmlns:a16="http://schemas.microsoft.com/office/drawing/2014/main" val="1835673438"/>
                    </a:ext>
                  </a:extLst>
                </a:gridCol>
                <a:gridCol w="3124708">
                  <a:extLst>
                    <a:ext uri="{9D8B030D-6E8A-4147-A177-3AD203B41FA5}">
                      <a16:colId xmlns:a16="http://schemas.microsoft.com/office/drawing/2014/main" val="1996137512"/>
                    </a:ext>
                  </a:extLst>
                </a:gridCol>
                <a:gridCol w="4323521">
                  <a:extLst>
                    <a:ext uri="{9D8B030D-6E8A-4147-A177-3AD203B41FA5}">
                      <a16:colId xmlns:a16="http://schemas.microsoft.com/office/drawing/2014/main" val="3437017552"/>
                    </a:ext>
                  </a:extLst>
                </a:gridCol>
              </a:tblGrid>
              <a:tr h="450681">
                <a:tc>
                  <a:txBody>
                    <a:bodyPr/>
                    <a:lstStyle/>
                    <a:p>
                      <a:r>
                        <a:rPr lang="en-US" dirty="0"/>
                        <a:t>Topic</a:t>
                      </a:r>
                    </a:p>
                  </a:txBody>
                  <a:tcPr/>
                </a:tc>
                <a:tc>
                  <a:txBody>
                    <a:bodyPr/>
                    <a:lstStyle/>
                    <a:p>
                      <a:r>
                        <a:rPr lang="en-US" dirty="0"/>
                        <a:t>References </a:t>
                      </a:r>
                    </a:p>
                  </a:txBody>
                  <a:tcPr/>
                </a:tc>
                <a:tc>
                  <a:txBody>
                    <a:bodyPr/>
                    <a:lstStyle/>
                    <a:p>
                      <a:r>
                        <a:rPr lang="en-US" dirty="0"/>
                        <a:t>Measure</a:t>
                      </a:r>
                    </a:p>
                  </a:txBody>
                  <a:tcPr/>
                </a:tc>
                <a:extLst>
                  <a:ext uri="{0D108BD9-81ED-4DB2-BD59-A6C34878D82A}">
                    <a16:rowId xmlns:a16="http://schemas.microsoft.com/office/drawing/2014/main" val="116310751"/>
                  </a:ext>
                </a:extLst>
              </a:tr>
              <a:tr h="45068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lasses, Objects, Properties, Methods, </a:t>
                      </a:r>
                    </a:p>
                  </a:txBody>
                  <a:tcPr/>
                </a:tc>
                <a:tc>
                  <a:txBody>
                    <a:bodyPr/>
                    <a:lstStyle/>
                    <a:p>
                      <a:r>
                        <a:rPr lang="en-US" sz="1000" kern="1200" dirty="0">
                          <a:solidFill>
                            <a:schemeClr val="dk1"/>
                          </a:solidFill>
                          <a:latin typeface="Franklin Gothic Medium" panose="020B0603020102020204" pitchFamily="34" charset="0"/>
                          <a:ea typeface="+mn-ea"/>
                          <a:cs typeface="+mn-cs"/>
                        </a:rPr>
                        <a:t>Courses in Pluralsight and LinkedIn</a:t>
                      </a:r>
                    </a:p>
                  </a:txBody>
                  <a:tcPr/>
                </a:tc>
                <a:tc>
                  <a:txBody>
                    <a:bodyPr/>
                    <a:lstStyle/>
                    <a:p>
                      <a:r>
                        <a:rPr lang="en-US" sz="1000" kern="1200" dirty="0">
                          <a:solidFill>
                            <a:schemeClr val="dk1"/>
                          </a:solidFill>
                          <a:latin typeface="Franklin Gothic Medium" panose="020B0603020102020204" pitchFamily="34" charset="0"/>
                          <a:ea typeface="+mn-ea"/>
                          <a:cs typeface="+mn-cs"/>
                        </a:rPr>
                        <a:t>Please implement day-2 class hierarchies in JavaScript</a:t>
                      </a:r>
                    </a:p>
                  </a:txBody>
                  <a:tcPr/>
                </a:tc>
                <a:extLst>
                  <a:ext uri="{0D108BD9-81ED-4DB2-BD59-A6C34878D82A}">
                    <a16:rowId xmlns:a16="http://schemas.microsoft.com/office/drawing/2014/main" val="1987283087"/>
                  </a:ext>
                </a:extLst>
              </a:tr>
              <a:tr h="45068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Franklin Gothic Medium" panose="020B0603020102020204" pitchFamily="34" charset="0"/>
                          <a:ea typeface="+mn-ea"/>
                          <a:cs typeface="+mn-cs"/>
                        </a:rPr>
                        <a:t>Collection of objects</a:t>
                      </a:r>
                      <a:endParaRPr lang="en-US" sz="1000" kern="1200" dirty="0">
                        <a:solidFill>
                          <a:schemeClr val="dk1"/>
                        </a:solidFill>
                        <a:latin typeface="Franklin Gothic Medium" panose="020B0603020102020204" pitchFamily="34" charset="0"/>
                        <a:ea typeface="+mn-ea"/>
                        <a:cs typeface="+mn-cs"/>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Create a List to store multiple employee objects</a:t>
                      </a:r>
                    </a:p>
                    <a:p>
                      <a:r>
                        <a:rPr lang="en-US" sz="1000" kern="1200" dirty="0">
                          <a:solidFill>
                            <a:schemeClr val="dk1"/>
                          </a:solidFill>
                          <a:latin typeface="Franklin Gothic Medium" panose="020B0603020102020204" pitchFamily="34" charset="0"/>
                          <a:ea typeface="+mn-ea"/>
                          <a:cs typeface="+mn-cs"/>
                        </a:rPr>
                        <a:t>Display the employees based on the category choice by the user</a:t>
                      </a:r>
                    </a:p>
                    <a:p>
                      <a:r>
                        <a:rPr lang="en-US" sz="1000" kern="1200" dirty="0">
                          <a:solidFill>
                            <a:schemeClr val="dk1"/>
                          </a:solidFill>
                          <a:latin typeface="Franklin Gothic Medium" panose="020B0603020102020204" pitchFamily="34" charset="0"/>
                          <a:ea typeface="+mn-ea"/>
                          <a:cs typeface="+mn-cs"/>
                        </a:rPr>
                        <a:t>Categories would be martial status or grade in graduation</a:t>
                      </a:r>
                    </a:p>
                  </a:txBody>
                  <a:tcPr/>
                </a:tc>
                <a:extLst>
                  <a:ext uri="{0D108BD9-81ED-4DB2-BD59-A6C34878D82A}">
                    <a16:rowId xmlns:a16="http://schemas.microsoft.com/office/drawing/2014/main" val="485893023"/>
                  </a:ext>
                </a:extLst>
              </a:tr>
              <a:tr h="450681">
                <a:tc>
                  <a:txBody>
                    <a:bodyPr/>
                    <a:lstStyle/>
                    <a:p>
                      <a:r>
                        <a:rPr lang="en-US" sz="1000" kern="1200" dirty="0">
                          <a:solidFill>
                            <a:schemeClr val="dk1"/>
                          </a:solidFill>
                          <a:latin typeface="Franklin Gothic Medium" panose="020B0603020102020204" pitchFamily="34" charset="0"/>
                          <a:ea typeface="+mn-ea"/>
                          <a:cs typeface="+mn-cs"/>
                        </a:rPr>
                        <a:t>Relationship</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Implement class association, aggregation and changes in cardinality in the models</a:t>
                      </a:r>
                    </a:p>
                  </a:txBody>
                  <a:tcPr/>
                </a:tc>
                <a:extLst>
                  <a:ext uri="{0D108BD9-81ED-4DB2-BD59-A6C34878D82A}">
                    <a16:rowId xmlns:a16="http://schemas.microsoft.com/office/drawing/2014/main" val="2913857713"/>
                  </a:ext>
                </a:extLst>
              </a:tr>
              <a:tr h="450681">
                <a:tc>
                  <a:txBody>
                    <a:bodyPr/>
                    <a:lstStyle/>
                    <a:p>
                      <a:r>
                        <a:rPr lang="en-US" sz="1000" kern="1200" dirty="0">
                          <a:solidFill>
                            <a:schemeClr val="dk1"/>
                          </a:solidFill>
                          <a:latin typeface="Franklin Gothic Medium" panose="020B0603020102020204" pitchFamily="34" charset="0"/>
                          <a:ea typeface="+mn-ea"/>
                          <a:cs typeface="+mn-cs"/>
                        </a:rPr>
                        <a:t>Relationship</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Implement class inheritance in models</a:t>
                      </a:r>
                    </a:p>
                  </a:txBody>
                  <a:tcPr/>
                </a:tc>
                <a:extLst>
                  <a:ext uri="{0D108BD9-81ED-4DB2-BD59-A6C34878D82A}">
                    <a16:rowId xmlns:a16="http://schemas.microsoft.com/office/drawing/2014/main" val="3155591978"/>
                  </a:ext>
                </a:extLst>
              </a:tr>
            </a:tbl>
          </a:graphicData>
        </a:graphic>
      </p:graphicFrame>
    </p:spTree>
    <p:extLst>
      <p:ext uri="{BB962C8B-B14F-4D97-AF65-F5344CB8AC3E}">
        <p14:creationId xmlns:p14="http://schemas.microsoft.com/office/powerpoint/2010/main" val="37704679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4 – Introduction to Object Orientated Programming using JavaScript</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991587681"/>
              </p:ext>
            </p:extLst>
          </p:nvPr>
        </p:nvGraphicFramePr>
        <p:xfrm>
          <a:off x="113211" y="632526"/>
          <a:ext cx="8874035" cy="1907202"/>
        </p:xfrm>
        <a:graphic>
          <a:graphicData uri="http://schemas.openxmlformats.org/drawingml/2006/table">
            <a:tbl>
              <a:tblPr firstRow="1" bandRow="1">
                <a:tableStyleId>{7DF18680-E054-41AD-8BC1-D1AEF772440D}</a:tableStyleId>
              </a:tblPr>
              <a:tblGrid>
                <a:gridCol w="1506438">
                  <a:extLst>
                    <a:ext uri="{9D8B030D-6E8A-4147-A177-3AD203B41FA5}">
                      <a16:colId xmlns:a16="http://schemas.microsoft.com/office/drawing/2014/main" val="1835673438"/>
                    </a:ext>
                  </a:extLst>
                </a:gridCol>
                <a:gridCol w="2326924">
                  <a:extLst>
                    <a:ext uri="{9D8B030D-6E8A-4147-A177-3AD203B41FA5}">
                      <a16:colId xmlns:a16="http://schemas.microsoft.com/office/drawing/2014/main" val="1996137512"/>
                    </a:ext>
                  </a:extLst>
                </a:gridCol>
                <a:gridCol w="5040673">
                  <a:extLst>
                    <a:ext uri="{9D8B030D-6E8A-4147-A177-3AD203B41FA5}">
                      <a16:colId xmlns:a16="http://schemas.microsoft.com/office/drawing/2014/main" val="3437017552"/>
                    </a:ext>
                  </a:extLst>
                </a:gridCol>
              </a:tblGrid>
              <a:tr h="450681">
                <a:tc>
                  <a:txBody>
                    <a:bodyPr/>
                    <a:lstStyle/>
                    <a:p>
                      <a:r>
                        <a:rPr lang="en-US" dirty="0"/>
                        <a:t>Topic</a:t>
                      </a:r>
                    </a:p>
                  </a:txBody>
                  <a:tcPr/>
                </a:tc>
                <a:tc>
                  <a:txBody>
                    <a:bodyPr/>
                    <a:lstStyle/>
                    <a:p>
                      <a:r>
                        <a:rPr lang="en-US" dirty="0"/>
                        <a:t>References </a:t>
                      </a:r>
                    </a:p>
                  </a:txBody>
                  <a:tcPr/>
                </a:tc>
                <a:tc>
                  <a:txBody>
                    <a:bodyPr/>
                    <a:lstStyle/>
                    <a:p>
                      <a:r>
                        <a:rPr lang="en-US" dirty="0"/>
                        <a:t>Measure</a:t>
                      </a:r>
                    </a:p>
                  </a:txBody>
                  <a:tcPr/>
                </a:tc>
                <a:extLst>
                  <a:ext uri="{0D108BD9-81ED-4DB2-BD59-A6C34878D82A}">
                    <a16:rowId xmlns:a16="http://schemas.microsoft.com/office/drawing/2014/main" val="116310751"/>
                  </a:ext>
                </a:extLst>
              </a:tr>
              <a:tr h="45068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Exception handling</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Q1. What happens if you call a undefined function or use a undefined variable?</a:t>
                      </a:r>
                    </a:p>
                    <a:p>
                      <a:r>
                        <a:rPr lang="en-US" sz="1000" kern="1200" dirty="0">
                          <a:solidFill>
                            <a:schemeClr val="dk1"/>
                          </a:solidFill>
                          <a:latin typeface="Franklin Gothic Medium" panose="020B0603020102020204" pitchFamily="34" charset="0"/>
                          <a:ea typeface="+mn-ea"/>
                          <a:cs typeface="+mn-cs"/>
                        </a:rPr>
                        <a:t>Q2. If I am processing an expression in JavaScript and I am expecting two type of exceptions (</a:t>
                      </a:r>
                      <a:r>
                        <a:rPr lang="en-IN" sz="1000" dirty="0" err="1">
                          <a:effectLst/>
                        </a:rPr>
                        <a:t>RangeError</a:t>
                      </a:r>
                      <a:r>
                        <a:rPr lang="en-IN" sz="1000" dirty="0">
                          <a:effectLst/>
                        </a:rPr>
                        <a:t>, </a:t>
                      </a:r>
                      <a:r>
                        <a:rPr lang="en-IN" sz="1000" dirty="0" err="1">
                          <a:effectLst/>
                        </a:rPr>
                        <a:t>EvalError</a:t>
                      </a:r>
                      <a:r>
                        <a:rPr lang="en-IN" sz="1000" dirty="0">
                          <a:effectLst/>
                        </a:rPr>
                        <a:t>). The action to be taken for each of the exception is different. How would you implement it?</a:t>
                      </a:r>
                    </a:p>
                    <a:p>
                      <a:r>
                        <a:rPr lang="en-US" sz="1000" kern="1200" dirty="0">
                          <a:solidFill>
                            <a:schemeClr val="dk1"/>
                          </a:solidFill>
                          <a:latin typeface="Franklin Gothic Medium" panose="020B0603020102020204" pitchFamily="34" charset="0"/>
                          <a:ea typeface="+mn-ea"/>
                          <a:cs typeface="+mn-cs"/>
                        </a:rPr>
                        <a:t>Q3. I have variable which holds the reference to a JSON object. How would you processing it and get a JSON object reference from it?</a:t>
                      </a:r>
                    </a:p>
                  </a:txBody>
                  <a:tcPr/>
                </a:tc>
                <a:extLst>
                  <a:ext uri="{0D108BD9-81ED-4DB2-BD59-A6C34878D82A}">
                    <a16:rowId xmlns:a16="http://schemas.microsoft.com/office/drawing/2014/main" val="1987283087"/>
                  </a:ext>
                </a:extLst>
              </a:tr>
              <a:tr h="45068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Exception handling</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latin typeface="Franklin Gothic Medium" panose="020B0603020102020204" pitchFamily="34" charset="0"/>
                        <a:ea typeface="+mn-ea"/>
                        <a:cs typeface="+mn-cs"/>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What is the finally clause used for? Illustrate with an example. Describe scenarios in which you want to use this feature.</a:t>
                      </a:r>
                    </a:p>
                  </a:txBody>
                  <a:tcPr/>
                </a:tc>
                <a:extLst>
                  <a:ext uri="{0D108BD9-81ED-4DB2-BD59-A6C34878D82A}">
                    <a16:rowId xmlns:a16="http://schemas.microsoft.com/office/drawing/2014/main" val="485893023"/>
                  </a:ext>
                </a:extLst>
              </a:tr>
            </a:tbl>
          </a:graphicData>
        </a:graphic>
      </p:graphicFrame>
    </p:spTree>
    <p:extLst>
      <p:ext uri="{BB962C8B-B14F-4D97-AF65-F5344CB8AC3E}">
        <p14:creationId xmlns:p14="http://schemas.microsoft.com/office/powerpoint/2010/main" val="1296147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5 – Week1 assignment using JavaScript</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154162497"/>
              </p:ext>
            </p:extLst>
          </p:nvPr>
        </p:nvGraphicFramePr>
        <p:xfrm>
          <a:off x="113211" y="632526"/>
          <a:ext cx="8971154" cy="1828800"/>
        </p:xfrm>
        <a:graphic>
          <a:graphicData uri="http://schemas.openxmlformats.org/drawingml/2006/table">
            <a:tbl>
              <a:tblPr firstRow="1" bandRow="1">
                <a:tableStyleId>{7DF18680-E054-41AD-8BC1-D1AEF772440D}</a:tableStyleId>
              </a:tblPr>
              <a:tblGrid>
                <a:gridCol w="1522925">
                  <a:extLst>
                    <a:ext uri="{9D8B030D-6E8A-4147-A177-3AD203B41FA5}">
                      <a16:colId xmlns:a16="http://schemas.microsoft.com/office/drawing/2014/main" val="1835673438"/>
                    </a:ext>
                  </a:extLst>
                </a:gridCol>
                <a:gridCol w="3124708">
                  <a:extLst>
                    <a:ext uri="{9D8B030D-6E8A-4147-A177-3AD203B41FA5}">
                      <a16:colId xmlns:a16="http://schemas.microsoft.com/office/drawing/2014/main" val="1996137512"/>
                    </a:ext>
                  </a:extLst>
                </a:gridCol>
                <a:gridCol w="4323521">
                  <a:extLst>
                    <a:ext uri="{9D8B030D-6E8A-4147-A177-3AD203B41FA5}">
                      <a16:colId xmlns:a16="http://schemas.microsoft.com/office/drawing/2014/main" val="3437017552"/>
                    </a:ext>
                  </a:extLst>
                </a:gridCol>
              </a:tblGrid>
              <a:tr h="450681">
                <a:tc>
                  <a:txBody>
                    <a:bodyPr/>
                    <a:lstStyle/>
                    <a:p>
                      <a:r>
                        <a:rPr lang="en-US" dirty="0"/>
                        <a:t>Topic</a:t>
                      </a:r>
                    </a:p>
                  </a:txBody>
                  <a:tcPr/>
                </a:tc>
                <a:tc>
                  <a:txBody>
                    <a:bodyPr/>
                    <a:lstStyle/>
                    <a:p>
                      <a:r>
                        <a:rPr lang="en-US" dirty="0"/>
                        <a:t>References </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57070"/>
                          </a:solidFill>
                          <a:effectLst/>
                          <a:uLnTx/>
                          <a:uFillTx/>
                          <a:latin typeface="Franklin Gothic Medium" panose="020B0603020102020204" pitchFamily="34" charset="0"/>
                          <a:ea typeface="+mn-ea"/>
                          <a:cs typeface="+mn-cs"/>
                        </a:rPr>
                        <a:t>Build a console application with Employee information CRUD. Review the exercise and share feedback</a:t>
                      </a:r>
                      <a:endParaRPr kumimoji="0" lang="en-US" sz="1200" b="0" i="0" u="none" strike="noStrike" kern="1200" cap="none" spc="0" normalizeH="0" baseline="0" noProof="0" dirty="0">
                        <a:ln>
                          <a:noFill/>
                        </a:ln>
                        <a:solidFill>
                          <a:srgbClr val="757070"/>
                        </a:solidFill>
                        <a:effectLst/>
                        <a:uLnTx/>
                        <a:uFillTx/>
                        <a:latin typeface="Franklin Gothic Medium" panose="020B0603020102020204" pitchFamily="34" charset="0"/>
                        <a:ea typeface="+mn-ea"/>
                        <a:cs typeface="+mn-cs"/>
                      </a:endParaRPr>
                    </a:p>
                  </a:txBody>
                  <a:tcPr/>
                </a:tc>
                <a:extLst>
                  <a:ext uri="{0D108BD9-81ED-4DB2-BD59-A6C34878D82A}">
                    <a16:rowId xmlns:a16="http://schemas.microsoft.com/office/drawing/2014/main" val="116310751"/>
                  </a:ext>
                </a:extLst>
              </a:tr>
              <a:tr h="45068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All week1 topics</a:t>
                      </a:r>
                    </a:p>
                  </a:txBody>
                  <a:tcPr/>
                </a:tc>
                <a:tc>
                  <a:txBody>
                    <a:bodyPr/>
                    <a:lstStyle/>
                    <a:p>
                      <a:r>
                        <a:rPr lang="en-US" sz="1000" kern="1200" dirty="0">
                          <a:solidFill>
                            <a:schemeClr val="dk1"/>
                          </a:solidFill>
                          <a:latin typeface="Franklin Gothic Medium" panose="020B0603020102020204" pitchFamily="34" charset="0"/>
                          <a:ea typeface="+mn-ea"/>
                          <a:cs typeface="+mn-cs"/>
                        </a:rPr>
                        <a:t>Courses in Pluralsight and LinkedIn</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070"/>
                          </a:solidFill>
                          <a:effectLst/>
                          <a:uLnTx/>
                          <a:uFillTx/>
                          <a:latin typeface="Franklin Gothic Medium" panose="020B0603020102020204" pitchFamily="34" charset="0"/>
                          <a:ea typeface="+mn-ea"/>
                          <a:cs typeface="+mn-cs"/>
                        </a:rPr>
                        <a:t>Build a console application with Employee information CRUD.</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070"/>
                          </a:solidFill>
                          <a:effectLst/>
                          <a:uLnTx/>
                          <a:uFillTx/>
                          <a:latin typeface="Franklin Gothic Medium" panose="020B0603020102020204" pitchFamily="34" charset="0"/>
                          <a:ea typeface="+mn-ea"/>
                          <a:cs typeface="+mn-cs"/>
                        </a:rPr>
                        <a:t>Implement using object-oriented programming using classe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070"/>
                          </a:solidFill>
                          <a:effectLst/>
                          <a:uLnTx/>
                          <a:uFillTx/>
                          <a:latin typeface="Franklin Gothic Medium" panose="020B0603020102020204" pitchFamily="34" charset="0"/>
                          <a:ea typeface="+mn-ea"/>
                          <a:cs typeface="+mn-cs"/>
                        </a:rPr>
                        <a:t>Implement exception handling</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070"/>
                          </a:solidFill>
                          <a:effectLst/>
                          <a:uLnTx/>
                          <a:uFillTx/>
                          <a:latin typeface="Franklin Gothic Medium" panose="020B0603020102020204" pitchFamily="34" charset="0"/>
                          <a:ea typeface="+mn-ea"/>
                          <a:cs typeface="+mn-cs"/>
                        </a:rPr>
                        <a:t>Create modules for different functionalities. For example, separate module for input-output, processing the operations, class model etc.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070"/>
                          </a:solidFill>
                          <a:effectLst/>
                          <a:uLnTx/>
                          <a:uFillTx/>
                          <a:latin typeface="Franklin Gothic Medium" panose="020B0603020102020204" pitchFamily="34" charset="0"/>
                          <a:ea typeface="+mn-ea"/>
                          <a:cs typeface="+mn-cs"/>
                        </a:rPr>
                        <a:t>Review the exercise and share feedback</a:t>
                      </a:r>
                    </a:p>
                  </a:txBody>
                  <a:tcPr/>
                </a:tc>
                <a:extLst>
                  <a:ext uri="{0D108BD9-81ED-4DB2-BD59-A6C34878D82A}">
                    <a16:rowId xmlns:a16="http://schemas.microsoft.com/office/drawing/2014/main" val="1987283087"/>
                  </a:ext>
                </a:extLst>
              </a:tr>
            </a:tbl>
          </a:graphicData>
        </a:graphic>
      </p:graphicFrame>
    </p:spTree>
    <p:extLst>
      <p:ext uri="{BB962C8B-B14F-4D97-AF65-F5344CB8AC3E}">
        <p14:creationId xmlns:p14="http://schemas.microsoft.com/office/powerpoint/2010/main" val="32074227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6 – Persistence</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nvGraphicFramePr>
        <p:xfrm>
          <a:off x="342900" y="545664"/>
          <a:ext cx="8153400" cy="40476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851465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7 – Persistence</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nvGraphicFramePr>
        <p:xfrm>
          <a:off x="342900" y="545664"/>
          <a:ext cx="8153400" cy="4247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81585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8,9 – NodeJS, NPM, Unit testing</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nvGraphicFramePr>
        <p:xfrm>
          <a:off x="342900" y="633800"/>
          <a:ext cx="8153400" cy="4247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99443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230506" y="178352"/>
            <a:ext cx="8378188" cy="307777"/>
          </a:xfrm>
        </p:spPr>
        <p:txBody>
          <a:bodyPr anchor="t" anchorCtr="0"/>
          <a:lstStyle/>
          <a:p>
            <a:r>
              <a:rPr lang="en-US" dirty="0"/>
              <a:t>Day 8,9 – NodeJS, NPM, Unit testing</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nvGraphicFramePr>
        <p:xfrm>
          <a:off x="342900" y="633800"/>
          <a:ext cx="8153400" cy="4247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50997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947E-4E04-41B3-90CD-CBE56B6A11A1}"/>
              </a:ext>
            </a:extLst>
          </p:cNvPr>
          <p:cNvSpPr>
            <a:spLocks noGrp="1"/>
          </p:cNvSpPr>
          <p:nvPr>
            <p:ph type="title"/>
          </p:nvPr>
        </p:nvSpPr>
        <p:spPr/>
        <p:txBody>
          <a:bodyPr/>
          <a:lstStyle/>
          <a:p>
            <a:r>
              <a:rPr lang="en-US" dirty="0"/>
              <a:t>Training Plan</a:t>
            </a:r>
          </a:p>
        </p:txBody>
      </p:sp>
      <p:graphicFrame>
        <p:nvGraphicFramePr>
          <p:cNvPr id="6" name="Diagram 5">
            <a:extLst>
              <a:ext uri="{FF2B5EF4-FFF2-40B4-BE49-F238E27FC236}">
                <a16:creationId xmlns:a16="http://schemas.microsoft.com/office/drawing/2014/main" id="{63F0774F-0E7B-4B3C-A29B-9F1E75314DC9}"/>
              </a:ext>
            </a:extLst>
          </p:cNvPr>
          <p:cNvGraphicFramePr/>
          <p:nvPr>
            <p:extLst>
              <p:ext uri="{D42A27DB-BD31-4B8C-83A1-F6EECF244321}">
                <p14:modId xmlns:p14="http://schemas.microsoft.com/office/powerpoint/2010/main" val="2939382073"/>
              </p:ext>
            </p:extLst>
          </p:nvPr>
        </p:nvGraphicFramePr>
        <p:xfrm>
          <a:off x="361244" y="541867"/>
          <a:ext cx="8493196" cy="4165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92584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10  – NodeJS, NPM, Unit testing</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0281D3C4-D372-401D-B99E-9710C16E22D8}"/>
              </a:ext>
            </a:extLst>
          </p:cNvPr>
          <p:cNvGraphicFramePr/>
          <p:nvPr/>
        </p:nvGraphicFramePr>
        <p:xfrm>
          <a:off x="342900" y="633800"/>
          <a:ext cx="8153400" cy="42473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3268107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defRPr/>
            </a:pPr>
            <a:endParaRPr lang="en-US" sz="1700">
              <a:solidFill>
                <a:prstClr val="white"/>
              </a:solidFill>
              <a:latin typeface="Franklin Gothic Book"/>
            </a:endParaRPr>
          </a:p>
        </p:txBody>
      </p:sp>
      <p:sp>
        <p:nvSpPr>
          <p:cNvPr id="5" name="TextBox 4"/>
          <p:cNvSpPr txBox="1"/>
          <p:nvPr/>
        </p:nvSpPr>
        <p:spPr>
          <a:xfrm>
            <a:off x="0" y="2248584"/>
            <a:ext cx="9144000" cy="646331"/>
          </a:xfrm>
          <a:prstGeom prst="rect">
            <a:avLst/>
          </a:prstGeom>
          <a:noFill/>
        </p:spPr>
        <p:txBody>
          <a:bodyPr wrap="square" rtlCol="0">
            <a:spAutoFit/>
          </a:bodyPr>
          <a:lstStyle/>
          <a:p>
            <a:pPr algn="ctr" defTabSz="892894">
              <a:defRPr/>
            </a:pPr>
            <a:r>
              <a:rPr lang="en-US" sz="3600" dirty="0">
                <a:solidFill>
                  <a:prstClr val="white"/>
                </a:solidFill>
                <a:latin typeface="Franklin Gothic Demi Cond" panose="020B0706030402020204" pitchFamily="34" charset="0"/>
              </a:rPr>
              <a:t>THANK YOU</a:t>
            </a:r>
          </a:p>
        </p:txBody>
      </p:sp>
    </p:spTree>
    <p:extLst>
      <p:ext uri="{BB962C8B-B14F-4D97-AF65-F5344CB8AC3E}">
        <p14:creationId xmlns:p14="http://schemas.microsoft.com/office/powerpoint/2010/main" val="3434102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947E-4E04-41B3-90CD-CBE56B6A11A1}"/>
              </a:ext>
            </a:extLst>
          </p:cNvPr>
          <p:cNvSpPr>
            <a:spLocks noGrp="1"/>
          </p:cNvSpPr>
          <p:nvPr>
            <p:ph type="title"/>
          </p:nvPr>
        </p:nvSpPr>
        <p:spPr/>
        <p:txBody>
          <a:bodyPr/>
          <a:lstStyle/>
          <a:p>
            <a:r>
              <a:rPr lang="en-US" dirty="0"/>
              <a:t>Training Plan</a:t>
            </a:r>
          </a:p>
        </p:txBody>
      </p:sp>
      <p:graphicFrame>
        <p:nvGraphicFramePr>
          <p:cNvPr id="4" name="Diagram 3">
            <a:extLst>
              <a:ext uri="{FF2B5EF4-FFF2-40B4-BE49-F238E27FC236}">
                <a16:creationId xmlns:a16="http://schemas.microsoft.com/office/drawing/2014/main" id="{EFC589C4-48B1-4C94-B72F-E0DEBA4ED26E}"/>
              </a:ext>
            </a:extLst>
          </p:cNvPr>
          <p:cNvGraphicFramePr/>
          <p:nvPr>
            <p:extLst>
              <p:ext uri="{D42A27DB-BD31-4B8C-83A1-F6EECF244321}">
                <p14:modId xmlns:p14="http://schemas.microsoft.com/office/powerpoint/2010/main" val="3280373914"/>
              </p:ext>
            </p:extLst>
          </p:nvPr>
        </p:nvGraphicFramePr>
        <p:xfrm>
          <a:off x="229728" y="391551"/>
          <a:ext cx="8624712" cy="8805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BC677226-6B50-41A6-B94D-E91760E8A3D3}"/>
              </a:ext>
            </a:extLst>
          </p:cNvPr>
          <p:cNvSpPr/>
          <p:nvPr/>
        </p:nvSpPr>
        <p:spPr>
          <a:xfrm>
            <a:off x="8105422" y="1433689"/>
            <a:ext cx="749018" cy="3262489"/>
          </a:xfrm>
          <a:prstGeom prst="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t>Specialization</a:t>
            </a:r>
            <a:endParaRPr lang="en-US" b="1" dirty="0"/>
          </a:p>
          <a:p>
            <a:pPr algn="ctr"/>
            <a:r>
              <a:rPr lang="en-US" dirty="0"/>
              <a:t>In depth knowledge in one area </a:t>
            </a:r>
          </a:p>
        </p:txBody>
      </p:sp>
      <p:pic>
        <p:nvPicPr>
          <p:cNvPr id="12" name="Picture 11">
            <a:extLst>
              <a:ext uri="{FF2B5EF4-FFF2-40B4-BE49-F238E27FC236}">
                <a16:creationId xmlns:a16="http://schemas.microsoft.com/office/drawing/2014/main" id="{2070AD80-87E0-4327-BCAC-39C7E187EB42}"/>
              </a:ext>
            </a:extLst>
          </p:cNvPr>
          <p:cNvPicPr>
            <a:picLocks noChangeAspect="1"/>
          </p:cNvPicPr>
          <p:nvPr/>
        </p:nvPicPr>
        <p:blipFill>
          <a:blip r:embed="rId7"/>
          <a:stretch>
            <a:fillRect/>
          </a:stretch>
        </p:blipFill>
        <p:spPr>
          <a:xfrm>
            <a:off x="104357" y="1238632"/>
            <a:ext cx="4309599" cy="1267502"/>
          </a:xfrm>
          <a:prstGeom prst="rect">
            <a:avLst/>
          </a:prstGeom>
        </p:spPr>
      </p:pic>
      <p:graphicFrame>
        <p:nvGraphicFramePr>
          <p:cNvPr id="19" name="Diagram 18">
            <a:extLst>
              <a:ext uri="{FF2B5EF4-FFF2-40B4-BE49-F238E27FC236}">
                <a16:creationId xmlns:a16="http://schemas.microsoft.com/office/drawing/2014/main" id="{2878496E-DD0A-4E2C-A4BA-64613EBEF1EC}"/>
              </a:ext>
            </a:extLst>
          </p:cNvPr>
          <p:cNvGraphicFramePr/>
          <p:nvPr>
            <p:extLst>
              <p:ext uri="{D42A27DB-BD31-4B8C-83A1-F6EECF244321}">
                <p14:modId xmlns:p14="http://schemas.microsoft.com/office/powerpoint/2010/main" val="3939060489"/>
              </p:ext>
            </p:extLst>
          </p:nvPr>
        </p:nvGraphicFramePr>
        <p:xfrm>
          <a:off x="1241778" y="2404533"/>
          <a:ext cx="3081869" cy="711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0" name="Diagram 19">
            <a:extLst>
              <a:ext uri="{FF2B5EF4-FFF2-40B4-BE49-F238E27FC236}">
                <a16:creationId xmlns:a16="http://schemas.microsoft.com/office/drawing/2014/main" id="{0AB7F711-4B1D-4BBC-912B-0531BADC05C9}"/>
              </a:ext>
            </a:extLst>
          </p:cNvPr>
          <p:cNvGraphicFramePr/>
          <p:nvPr>
            <p:extLst>
              <p:ext uri="{D42A27DB-BD31-4B8C-83A1-F6EECF244321}">
                <p14:modId xmlns:p14="http://schemas.microsoft.com/office/powerpoint/2010/main" val="1139492452"/>
              </p:ext>
            </p:extLst>
          </p:nvPr>
        </p:nvGraphicFramePr>
        <p:xfrm>
          <a:off x="4413957" y="2404532"/>
          <a:ext cx="3335874" cy="70555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24" name="Picture 23">
            <a:extLst>
              <a:ext uri="{FF2B5EF4-FFF2-40B4-BE49-F238E27FC236}">
                <a16:creationId xmlns:a16="http://schemas.microsoft.com/office/drawing/2014/main" id="{FD9AA01D-DD40-4297-B9EA-85298321C4DC}"/>
              </a:ext>
            </a:extLst>
          </p:cNvPr>
          <p:cNvPicPr>
            <a:picLocks noChangeAspect="1"/>
          </p:cNvPicPr>
          <p:nvPr/>
        </p:nvPicPr>
        <p:blipFill>
          <a:blip r:embed="rId18"/>
          <a:stretch>
            <a:fillRect/>
          </a:stretch>
        </p:blipFill>
        <p:spPr>
          <a:xfrm>
            <a:off x="104357" y="2918776"/>
            <a:ext cx="6736710" cy="1439612"/>
          </a:xfrm>
          <a:prstGeom prst="rect">
            <a:avLst/>
          </a:prstGeom>
          <a:noFill/>
        </p:spPr>
      </p:pic>
      <p:sp>
        <p:nvSpPr>
          <p:cNvPr id="25" name="Rectangle 24">
            <a:extLst>
              <a:ext uri="{FF2B5EF4-FFF2-40B4-BE49-F238E27FC236}">
                <a16:creationId xmlns:a16="http://schemas.microsoft.com/office/drawing/2014/main" id="{DFA6F331-DD8D-49FC-B6CF-A3F216190EB5}"/>
              </a:ext>
            </a:extLst>
          </p:cNvPr>
          <p:cNvSpPr/>
          <p:nvPr/>
        </p:nvSpPr>
        <p:spPr>
          <a:xfrm>
            <a:off x="1659467" y="4154311"/>
            <a:ext cx="3093155" cy="361245"/>
          </a:xfrm>
          <a:prstGeom prst="rect">
            <a:avLst/>
          </a:prstGeom>
          <a:solidFill>
            <a:srgbClr val="CFD5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Weekly Presentation</a:t>
            </a:r>
          </a:p>
        </p:txBody>
      </p:sp>
      <p:pic>
        <p:nvPicPr>
          <p:cNvPr id="29" name="Picture 28">
            <a:extLst>
              <a:ext uri="{FF2B5EF4-FFF2-40B4-BE49-F238E27FC236}">
                <a16:creationId xmlns:a16="http://schemas.microsoft.com/office/drawing/2014/main" id="{2EF5A1CF-9B46-4FE6-A1DC-C831CA613073}"/>
              </a:ext>
            </a:extLst>
          </p:cNvPr>
          <p:cNvPicPr>
            <a:picLocks noChangeAspect="1"/>
          </p:cNvPicPr>
          <p:nvPr/>
        </p:nvPicPr>
        <p:blipFill>
          <a:blip r:embed="rId19"/>
          <a:stretch>
            <a:fillRect/>
          </a:stretch>
        </p:blipFill>
        <p:spPr>
          <a:xfrm>
            <a:off x="4449019" y="1433688"/>
            <a:ext cx="3300812" cy="876975"/>
          </a:xfrm>
          <a:prstGeom prst="rect">
            <a:avLst/>
          </a:prstGeom>
        </p:spPr>
      </p:pic>
    </p:spTree>
    <p:extLst>
      <p:ext uri="{BB962C8B-B14F-4D97-AF65-F5344CB8AC3E}">
        <p14:creationId xmlns:p14="http://schemas.microsoft.com/office/powerpoint/2010/main" val="2730518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3"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Week 1 – JavaScript Fundamentals</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006452595"/>
              </p:ext>
            </p:extLst>
          </p:nvPr>
        </p:nvGraphicFramePr>
        <p:xfrm>
          <a:off x="2127158" y="792095"/>
          <a:ext cx="6918508" cy="3102441"/>
        </p:xfrm>
        <a:graphic>
          <a:graphicData uri="http://schemas.openxmlformats.org/drawingml/2006/table">
            <a:tbl>
              <a:tblPr firstRow="1" bandRow="1">
                <a:tableStyleId>{7DF18680-E054-41AD-8BC1-D1AEF772440D}</a:tableStyleId>
              </a:tblPr>
              <a:tblGrid>
                <a:gridCol w="1076470">
                  <a:extLst>
                    <a:ext uri="{9D8B030D-6E8A-4147-A177-3AD203B41FA5}">
                      <a16:colId xmlns:a16="http://schemas.microsoft.com/office/drawing/2014/main" val="1835673438"/>
                    </a:ext>
                  </a:extLst>
                </a:gridCol>
                <a:gridCol w="2639205">
                  <a:extLst>
                    <a:ext uri="{9D8B030D-6E8A-4147-A177-3AD203B41FA5}">
                      <a16:colId xmlns:a16="http://schemas.microsoft.com/office/drawing/2014/main" val="1996137512"/>
                    </a:ext>
                  </a:extLst>
                </a:gridCol>
                <a:gridCol w="3202833">
                  <a:extLst>
                    <a:ext uri="{9D8B030D-6E8A-4147-A177-3AD203B41FA5}">
                      <a16:colId xmlns:a16="http://schemas.microsoft.com/office/drawing/2014/main" val="3437017552"/>
                    </a:ext>
                  </a:extLst>
                </a:gridCol>
              </a:tblGrid>
              <a:tr h="450681">
                <a:tc>
                  <a:txBody>
                    <a:bodyPr/>
                    <a:lstStyle/>
                    <a:p>
                      <a:r>
                        <a:rPr lang="en-US" dirty="0"/>
                        <a:t>Training</a:t>
                      </a:r>
                    </a:p>
                  </a:txBody>
                  <a:tcPr/>
                </a:tc>
                <a:tc>
                  <a:txBody>
                    <a:bodyPr/>
                    <a:lstStyle/>
                    <a:p>
                      <a:r>
                        <a:rPr lang="en-US" dirty="0"/>
                        <a:t>Topic</a:t>
                      </a:r>
                    </a:p>
                  </a:txBody>
                  <a:tcPr/>
                </a:tc>
                <a:tc>
                  <a:txBody>
                    <a:bodyPr/>
                    <a:lstStyle/>
                    <a:p>
                      <a:r>
                        <a:rPr lang="en-US" dirty="0"/>
                        <a:t>Detailed Areas</a:t>
                      </a:r>
                    </a:p>
                  </a:txBody>
                  <a:tcPr/>
                </a:tc>
                <a:extLst>
                  <a:ext uri="{0D108BD9-81ED-4DB2-BD59-A6C34878D82A}">
                    <a16:rowId xmlns:a16="http://schemas.microsoft.com/office/drawing/2014/main" val="116310751"/>
                  </a:ext>
                </a:extLst>
              </a:tr>
              <a:tr h="450681">
                <a:tc>
                  <a:txBody>
                    <a:bodyPr/>
                    <a:lstStyle/>
                    <a:p>
                      <a:r>
                        <a:rPr lang="en-US" sz="1200" kern="1200" dirty="0">
                          <a:solidFill>
                            <a:schemeClr val="dk1"/>
                          </a:solidFill>
                          <a:latin typeface="Franklin Gothic Medium" panose="020B0603020102020204" pitchFamily="34" charset="0"/>
                          <a:ea typeface="+mn-ea"/>
                          <a:cs typeface="+mn-cs"/>
                        </a:rPr>
                        <a:t>Day 1</a:t>
                      </a:r>
                    </a:p>
                  </a:txBody>
                  <a:tcPr/>
                </a:tc>
                <a:tc>
                  <a:txBody>
                    <a:bodyPr/>
                    <a:lstStyle/>
                    <a:p>
                      <a:r>
                        <a:rPr lang="en-US" sz="1200" kern="1200" dirty="0">
                          <a:solidFill>
                            <a:schemeClr val="dk1"/>
                          </a:solidFill>
                          <a:latin typeface="Franklin Gothic Medium" panose="020B0603020102020204" pitchFamily="34" charset="0"/>
                          <a:ea typeface="+mn-ea"/>
                          <a:cs typeface="+mn-cs"/>
                        </a:rPr>
                        <a:t>Introduction to Programming, JavaScript</a:t>
                      </a:r>
                    </a:p>
                    <a:p>
                      <a:endParaRPr lang="en-US" sz="1200" kern="1200" dirty="0">
                        <a:solidFill>
                          <a:schemeClr val="dk1"/>
                        </a:solidFill>
                        <a:latin typeface="Franklin Gothic Medium" panose="020B0603020102020204" pitchFamily="34" charset="0"/>
                        <a:ea typeface="+mn-ea"/>
                        <a:cs typeface="+mn-cs"/>
                      </a:endParaRPr>
                    </a:p>
                  </a:txBody>
                  <a:tcPr/>
                </a:tc>
                <a:tc>
                  <a:txBody>
                    <a:bodyPr/>
                    <a:lstStyle/>
                    <a:p>
                      <a:r>
                        <a:rPr lang="en-US" sz="1200" kern="1200" dirty="0">
                          <a:solidFill>
                            <a:schemeClr val="dk1"/>
                          </a:solidFill>
                          <a:latin typeface="Franklin Gothic Medium" panose="020B0603020102020204" pitchFamily="34" charset="0"/>
                          <a:ea typeface="+mn-ea"/>
                          <a:cs typeface="+mn-cs"/>
                        </a:rPr>
                        <a:t>Compiler/Interpreter,</a:t>
                      </a:r>
                      <a:r>
                        <a:rPr lang="en-US" sz="1200" kern="1200" baseline="0" dirty="0">
                          <a:solidFill>
                            <a:schemeClr val="dk1"/>
                          </a:solidFill>
                          <a:latin typeface="Franklin Gothic Medium" panose="020B0603020102020204" pitchFamily="34" charset="0"/>
                          <a:ea typeface="+mn-ea"/>
                          <a:cs typeface="+mn-cs"/>
                        </a:rPr>
                        <a:t> Editors, Console, Operators, Variables, Data Types, Type Conversions, branching, loops, functions</a:t>
                      </a:r>
                      <a:endParaRPr lang="en-US" sz="12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485893023"/>
                  </a:ext>
                </a:extLst>
              </a:tr>
              <a:tr h="450681">
                <a:tc>
                  <a:txBody>
                    <a:bodyPr/>
                    <a:lstStyle/>
                    <a:p>
                      <a:r>
                        <a:rPr lang="en-US" sz="1200" kern="1200" dirty="0">
                          <a:solidFill>
                            <a:schemeClr val="dk1"/>
                          </a:solidFill>
                          <a:latin typeface="Franklin Gothic Medium" panose="020B0603020102020204" pitchFamily="34" charset="0"/>
                          <a:ea typeface="+mn-ea"/>
                          <a:cs typeface="+mn-cs"/>
                        </a:rPr>
                        <a:t>Day 2</a:t>
                      </a:r>
                    </a:p>
                  </a:txBody>
                  <a:tcPr/>
                </a:tc>
                <a:tc>
                  <a:txBody>
                    <a:bodyPr/>
                    <a:lstStyle/>
                    <a:p>
                      <a:r>
                        <a:rPr lang="en-US" sz="1200" kern="1200" dirty="0">
                          <a:solidFill>
                            <a:schemeClr val="dk1"/>
                          </a:solidFill>
                          <a:latin typeface="Franklin Gothic Medium" panose="020B0603020102020204" pitchFamily="34" charset="0"/>
                          <a:ea typeface="+mn-ea"/>
                          <a:cs typeface="+mn-cs"/>
                        </a:rPr>
                        <a:t>Classes, Objects, OO Concepts</a:t>
                      </a:r>
                    </a:p>
                  </a:txBody>
                  <a:tcPr/>
                </a:tc>
                <a:tc>
                  <a:txBody>
                    <a:bodyPr/>
                    <a:lstStyle/>
                    <a:p>
                      <a:r>
                        <a:rPr lang="en-US" sz="1200" kern="1200" dirty="0">
                          <a:solidFill>
                            <a:schemeClr val="dk1"/>
                          </a:solidFill>
                          <a:latin typeface="Franklin Gothic Medium" panose="020B0603020102020204" pitchFamily="34" charset="0"/>
                          <a:ea typeface="+mn-ea"/>
                          <a:cs typeface="+mn-cs"/>
                        </a:rPr>
                        <a:t>Object Oriented Programming  Concepts, Relationship between objects </a:t>
                      </a:r>
                    </a:p>
                  </a:txBody>
                  <a:tcPr/>
                </a:tc>
                <a:extLst>
                  <a:ext uri="{0D108BD9-81ED-4DB2-BD59-A6C34878D82A}">
                    <a16:rowId xmlns:a16="http://schemas.microsoft.com/office/drawing/2014/main" val="2913857713"/>
                  </a:ext>
                </a:extLst>
              </a:tr>
              <a:tr h="450681">
                <a:tc>
                  <a:txBody>
                    <a:bodyPr/>
                    <a:lstStyle/>
                    <a:p>
                      <a:r>
                        <a:rPr lang="en-US" sz="1200" kern="1200" dirty="0">
                          <a:solidFill>
                            <a:schemeClr val="dk1"/>
                          </a:solidFill>
                          <a:latin typeface="Franklin Gothic Medium" panose="020B0603020102020204" pitchFamily="34" charset="0"/>
                          <a:ea typeface="+mn-ea"/>
                          <a:cs typeface="+mn-cs"/>
                        </a:rPr>
                        <a:t>Day 3</a:t>
                      </a:r>
                    </a:p>
                  </a:txBody>
                  <a:tcPr/>
                </a:tc>
                <a:tc>
                  <a:txBody>
                    <a:bodyPr/>
                    <a:lstStyle/>
                    <a:p>
                      <a:r>
                        <a:rPr lang="en-US" sz="1200" kern="1200" dirty="0">
                          <a:solidFill>
                            <a:schemeClr val="dk1"/>
                          </a:solidFill>
                          <a:latin typeface="Franklin Gothic Medium" panose="020B0603020102020204" pitchFamily="34" charset="0"/>
                          <a:ea typeface="+mn-ea"/>
                          <a:cs typeface="+mn-cs"/>
                        </a:rPr>
                        <a:t>Implementation of classes, Object in JavaScript</a:t>
                      </a:r>
                    </a:p>
                  </a:txBody>
                  <a:tcPr/>
                </a:tc>
                <a:tc>
                  <a:txBody>
                    <a:bodyPr/>
                    <a:lstStyle/>
                    <a:p>
                      <a:r>
                        <a:rPr lang="en-US" sz="1200" kern="1200" dirty="0">
                          <a:solidFill>
                            <a:schemeClr val="dk1"/>
                          </a:solidFill>
                          <a:latin typeface="Franklin Gothic Medium" panose="020B0603020102020204" pitchFamily="34" charset="0"/>
                          <a:ea typeface="+mn-ea"/>
                          <a:cs typeface="+mn-cs"/>
                        </a:rPr>
                        <a:t>Properties, Methods, Patterns,</a:t>
                      </a:r>
                      <a:r>
                        <a:rPr lang="en-US" sz="1200" kern="1200" baseline="0" dirty="0">
                          <a:solidFill>
                            <a:schemeClr val="dk1"/>
                          </a:solidFill>
                          <a:latin typeface="Franklin Gothic Medium" panose="020B0603020102020204" pitchFamily="34" charset="0"/>
                          <a:ea typeface="+mn-ea"/>
                          <a:cs typeface="+mn-cs"/>
                        </a:rPr>
                        <a:t> Recursion, Garbage Collection</a:t>
                      </a:r>
                      <a:endParaRPr lang="en-US" sz="12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3082933021"/>
                  </a:ext>
                </a:extLst>
              </a:tr>
              <a:tr h="450681">
                <a:tc>
                  <a:txBody>
                    <a:bodyPr/>
                    <a:lstStyle/>
                    <a:p>
                      <a:r>
                        <a:rPr lang="en-US" sz="1200" kern="1200" dirty="0">
                          <a:solidFill>
                            <a:schemeClr val="dk1"/>
                          </a:solidFill>
                          <a:latin typeface="Franklin Gothic Medium" panose="020B0603020102020204" pitchFamily="34" charset="0"/>
                          <a:ea typeface="+mn-ea"/>
                          <a:cs typeface="+mn-cs"/>
                        </a:rPr>
                        <a:t>Day 4</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Franklin Gothic Medium" panose="020B0603020102020204" pitchFamily="34" charset="0"/>
                          <a:ea typeface="+mn-ea"/>
                          <a:cs typeface="+mn-cs"/>
                        </a:rPr>
                        <a:t>Prototypes,</a:t>
                      </a:r>
                      <a:r>
                        <a:rPr lang="en-US" sz="1200" kern="1200" baseline="0" dirty="0">
                          <a:solidFill>
                            <a:schemeClr val="dk1"/>
                          </a:solidFill>
                          <a:latin typeface="Franklin Gothic Medium" panose="020B0603020102020204" pitchFamily="34" charset="0"/>
                          <a:ea typeface="+mn-ea"/>
                          <a:cs typeface="+mn-cs"/>
                        </a:rPr>
                        <a:t> Inheritance, Error Handling, Callbacks, Modules </a:t>
                      </a:r>
                      <a:endParaRPr lang="en-US" sz="1200" kern="1200" dirty="0">
                        <a:solidFill>
                          <a:schemeClr val="dk1"/>
                        </a:solidFill>
                        <a:latin typeface="Franklin Gothic Medium" panose="020B0603020102020204" pitchFamily="34" charset="0"/>
                        <a:ea typeface="+mn-ea"/>
                        <a:cs typeface="+mn-cs"/>
                      </a:endParaRPr>
                    </a:p>
                  </a:txBody>
                  <a:tcPr/>
                </a:tc>
                <a:tc>
                  <a:txBody>
                    <a:bodyPr/>
                    <a:lstStyle/>
                    <a:p>
                      <a:r>
                        <a:rPr lang="en-US" sz="1200" kern="1200" dirty="0">
                          <a:solidFill>
                            <a:schemeClr val="dk1"/>
                          </a:solidFill>
                          <a:latin typeface="Franklin Gothic Medium" panose="020B0603020102020204" pitchFamily="34" charset="0"/>
                          <a:ea typeface="+mn-ea"/>
                          <a:cs typeface="+mn-cs"/>
                        </a:rPr>
                        <a:t>Try</a:t>
                      </a:r>
                      <a:r>
                        <a:rPr lang="en-US" sz="1200" kern="1200" baseline="0" dirty="0">
                          <a:solidFill>
                            <a:schemeClr val="dk1"/>
                          </a:solidFill>
                          <a:latin typeface="Franklin Gothic Medium" panose="020B0603020102020204" pitchFamily="34" charset="0"/>
                          <a:ea typeface="+mn-ea"/>
                          <a:cs typeface="+mn-cs"/>
                        </a:rPr>
                        <a:t>, Catch, Extending Errors, Callbacks, Promise, Import/Export Modules</a:t>
                      </a:r>
                      <a:endParaRPr lang="en-US" sz="12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1180039168"/>
                  </a:ext>
                </a:extLst>
              </a:tr>
              <a:tr h="450681">
                <a:tc>
                  <a:txBody>
                    <a:bodyPr/>
                    <a:lstStyle/>
                    <a:p>
                      <a:r>
                        <a:rPr lang="en-US" sz="1200" kern="1200" dirty="0">
                          <a:solidFill>
                            <a:schemeClr val="dk1"/>
                          </a:solidFill>
                          <a:latin typeface="Franklin Gothic Medium" panose="020B0603020102020204" pitchFamily="34" charset="0"/>
                          <a:ea typeface="+mn-ea"/>
                          <a:cs typeface="+mn-cs"/>
                        </a:rPr>
                        <a:t>Day 5</a:t>
                      </a:r>
                    </a:p>
                  </a:txBody>
                  <a:tcPr/>
                </a:tc>
                <a:tc>
                  <a:txBody>
                    <a:bodyPr/>
                    <a:lstStyle/>
                    <a:p>
                      <a:r>
                        <a:rPr lang="en-US" sz="1200" kern="1200" dirty="0">
                          <a:solidFill>
                            <a:schemeClr val="dk1"/>
                          </a:solidFill>
                          <a:latin typeface="Franklin Gothic Medium" panose="020B0603020102020204" pitchFamily="34" charset="0"/>
                          <a:ea typeface="+mn-ea"/>
                          <a:cs typeface="+mn-cs"/>
                        </a:rPr>
                        <a:t>Exercise, Feedback, Recap</a:t>
                      </a:r>
                    </a:p>
                  </a:txBody>
                  <a:tcPr/>
                </a:tc>
                <a:tc>
                  <a:txBody>
                    <a:bodyPr/>
                    <a:lstStyle/>
                    <a:p>
                      <a:r>
                        <a:rPr lang="en-US" sz="1200" kern="1200" dirty="0">
                          <a:solidFill>
                            <a:schemeClr val="dk1"/>
                          </a:solidFill>
                          <a:latin typeface="Franklin Gothic Medium" panose="020B0603020102020204" pitchFamily="34" charset="0"/>
                          <a:ea typeface="+mn-ea"/>
                          <a:cs typeface="+mn-cs"/>
                        </a:rPr>
                        <a:t>Build a console application with</a:t>
                      </a:r>
                      <a:r>
                        <a:rPr lang="en-US" sz="1200" kern="1200" baseline="0" dirty="0">
                          <a:solidFill>
                            <a:schemeClr val="dk1"/>
                          </a:solidFill>
                          <a:latin typeface="Franklin Gothic Medium" panose="020B0603020102020204" pitchFamily="34" charset="0"/>
                          <a:ea typeface="+mn-ea"/>
                          <a:cs typeface="+mn-cs"/>
                        </a:rPr>
                        <a:t> Employee information CRUD. Review the exercise and share feedback</a:t>
                      </a:r>
                      <a:endParaRPr lang="en-US" sz="12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2931881352"/>
                  </a:ext>
                </a:extLst>
              </a:tr>
            </a:tbl>
          </a:graphicData>
        </a:graphic>
      </p:graphicFrame>
      <p:pic>
        <p:nvPicPr>
          <p:cNvPr id="16" name="Picture 15"/>
          <p:cNvPicPr>
            <a:picLocks/>
          </p:cNvPicPr>
          <p:nvPr/>
        </p:nvPicPr>
        <p:blipFill>
          <a:blip r:embed="rId7"/>
          <a:stretch>
            <a:fillRect/>
          </a:stretch>
        </p:blipFill>
        <p:spPr>
          <a:xfrm>
            <a:off x="0" y="510539"/>
            <a:ext cx="2028825" cy="4229655"/>
          </a:xfrm>
          <a:prstGeom prst="rect">
            <a:avLst/>
          </a:prstGeom>
        </p:spPr>
      </p:pic>
    </p:spTree>
    <p:extLst>
      <p:ext uri="{BB962C8B-B14F-4D97-AF65-F5344CB8AC3E}">
        <p14:creationId xmlns:p14="http://schemas.microsoft.com/office/powerpoint/2010/main" val="5059039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4"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1 – Introduction to Programming, JavaScript</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773325049"/>
              </p:ext>
            </p:extLst>
          </p:nvPr>
        </p:nvGraphicFramePr>
        <p:xfrm>
          <a:off x="49420" y="632526"/>
          <a:ext cx="9034945" cy="4308603"/>
        </p:xfrm>
        <a:graphic>
          <a:graphicData uri="http://schemas.openxmlformats.org/drawingml/2006/table">
            <a:tbl>
              <a:tblPr firstRow="1" bandRow="1">
                <a:tableStyleId>{7DF18680-E054-41AD-8BC1-D1AEF772440D}</a:tableStyleId>
              </a:tblPr>
              <a:tblGrid>
                <a:gridCol w="1586716">
                  <a:extLst>
                    <a:ext uri="{9D8B030D-6E8A-4147-A177-3AD203B41FA5}">
                      <a16:colId xmlns:a16="http://schemas.microsoft.com/office/drawing/2014/main" val="1835673438"/>
                    </a:ext>
                  </a:extLst>
                </a:gridCol>
                <a:gridCol w="3124708">
                  <a:extLst>
                    <a:ext uri="{9D8B030D-6E8A-4147-A177-3AD203B41FA5}">
                      <a16:colId xmlns:a16="http://schemas.microsoft.com/office/drawing/2014/main" val="1996137512"/>
                    </a:ext>
                  </a:extLst>
                </a:gridCol>
                <a:gridCol w="4323521">
                  <a:extLst>
                    <a:ext uri="{9D8B030D-6E8A-4147-A177-3AD203B41FA5}">
                      <a16:colId xmlns:a16="http://schemas.microsoft.com/office/drawing/2014/main" val="3437017552"/>
                    </a:ext>
                  </a:extLst>
                </a:gridCol>
              </a:tblGrid>
              <a:tr h="450681">
                <a:tc>
                  <a:txBody>
                    <a:bodyPr/>
                    <a:lstStyle/>
                    <a:p>
                      <a:r>
                        <a:rPr lang="en-US" dirty="0"/>
                        <a:t>Topic</a:t>
                      </a:r>
                    </a:p>
                  </a:txBody>
                  <a:tcPr/>
                </a:tc>
                <a:tc>
                  <a:txBody>
                    <a:bodyPr/>
                    <a:lstStyle/>
                    <a:p>
                      <a:r>
                        <a:rPr lang="en-US" dirty="0"/>
                        <a:t>References </a:t>
                      </a:r>
                    </a:p>
                  </a:txBody>
                  <a:tcPr/>
                </a:tc>
                <a:tc>
                  <a:txBody>
                    <a:bodyPr/>
                    <a:lstStyle/>
                    <a:p>
                      <a:r>
                        <a:rPr lang="en-US" dirty="0"/>
                        <a:t>Measure</a:t>
                      </a:r>
                    </a:p>
                  </a:txBody>
                  <a:tcPr/>
                </a:tc>
                <a:extLst>
                  <a:ext uri="{0D108BD9-81ED-4DB2-BD59-A6C34878D82A}">
                    <a16:rowId xmlns:a16="http://schemas.microsoft.com/office/drawing/2014/main" val="116310751"/>
                  </a:ext>
                </a:extLst>
              </a:tr>
              <a:tr h="355534">
                <a:tc>
                  <a:txBody>
                    <a:bodyPr/>
                    <a:lstStyle/>
                    <a:p>
                      <a:r>
                        <a:rPr lang="en-US" sz="1000" kern="1200" dirty="0">
                          <a:solidFill>
                            <a:schemeClr val="dk1"/>
                          </a:solidFill>
                          <a:latin typeface="Franklin Gothic Medium" panose="020B0603020102020204" pitchFamily="34" charset="0"/>
                          <a:ea typeface="+mn-ea"/>
                          <a:cs typeface="+mn-cs"/>
                        </a:rPr>
                        <a:t>Introduction to Programming</a:t>
                      </a:r>
                    </a:p>
                  </a:txBody>
                  <a:tcPr/>
                </a:tc>
                <a:tc>
                  <a:txBody>
                    <a:bodyPr/>
                    <a:lstStyle/>
                    <a:p>
                      <a:r>
                        <a:rPr lang="en-US" sz="1000" dirty="0">
                          <a:hlinkClick r:id="rId7"/>
                        </a:rPr>
                        <a:t>https://www.geeksforgeeks.org/introduction-to-programming-languages/</a:t>
                      </a:r>
                      <a:endParaRPr lang="en-US" sz="1000" dirty="0"/>
                    </a:p>
                    <a:p>
                      <a:r>
                        <a:rPr lang="en-US" sz="1000" dirty="0">
                          <a:hlinkClick r:id="rId8"/>
                        </a:rPr>
                        <a:t>https://www.slideshare.net/VarunGarg7/lect-1-introduction-to-programming-languages</a:t>
                      </a:r>
                      <a:endParaRPr lang="en-US" sz="1000" dirty="0"/>
                    </a:p>
                    <a:p>
                      <a:r>
                        <a:rPr lang="en-US" sz="1000" kern="1200" dirty="0">
                          <a:solidFill>
                            <a:schemeClr val="dk1"/>
                          </a:solidFill>
                          <a:latin typeface="Franklin Gothic Medium" panose="020B0603020102020204" pitchFamily="34" charset="0"/>
                          <a:ea typeface="+mn-ea"/>
                          <a:cs typeface="+mn-cs"/>
                          <a:hlinkClick r:id="rId9"/>
                        </a:rPr>
                        <a:t>https://app.pluralsight.com/library/courses/javascript-getting-started/table-of-contents</a:t>
                      </a:r>
                      <a:endParaRPr lang="en-US" sz="1000" kern="1200" dirty="0">
                        <a:solidFill>
                          <a:schemeClr val="dk1"/>
                        </a:solidFill>
                        <a:latin typeface="Franklin Gothic Medium" panose="020B0603020102020204" pitchFamily="34" charset="0"/>
                        <a:ea typeface="+mn-ea"/>
                        <a:cs typeface="+mn-cs"/>
                      </a:endParaRP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Discuss and categorize about various programming</a:t>
                      </a:r>
                      <a:r>
                        <a:rPr lang="en-US" sz="1000" kern="1200" baseline="0" dirty="0">
                          <a:solidFill>
                            <a:schemeClr val="dk1"/>
                          </a:solidFill>
                          <a:latin typeface="Franklin Gothic Medium" panose="020B0603020102020204" pitchFamily="34" charset="0"/>
                          <a:ea typeface="+mn-ea"/>
                          <a:cs typeface="+mn-cs"/>
                        </a:rPr>
                        <a:t> languages and their usage</a:t>
                      </a:r>
                      <a:endParaRPr lang="en-US" sz="10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1987283087"/>
                  </a:ext>
                </a:extLst>
              </a:tr>
              <a:tr h="450681">
                <a:tc>
                  <a:txBody>
                    <a:bodyPr/>
                    <a:lstStyle/>
                    <a:p>
                      <a:r>
                        <a:rPr lang="en-US" sz="1000" kern="1200" dirty="0">
                          <a:solidFill>
                            <a:schemeClr val="dk1"/>
                          </a:solidFill>
                          <a:latin typeface="Franklin Gothic Medium" panose="020B0603020102020204" pitchFamily="34" charset="0"/>
                          <a:ea typeface="+mn-ea"/>
                          <a:cs typeface="+mn-cs"/>
                        </a:rPr>
                        <a:t>Compiler/Interpreter</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Franklin Gothic Medium" panose="020B0603020102020204" pitchFamily="34" charset="0"/>
                          <a:ea typeface="+mn-ea"/>
                          <a:cs typeface="+mn-cs"/>
                        </a:rPr>
                        <a:t>Understanding the meaning of compiled and interpreted languages and their difference</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baseline="0" dirty="0">
                          <a:solidFill>
                            <a:schemeClr val="dk1"/>
                          </a:solidFill>
                          <a:latin typeface="Franklin Gothic Medium" panose="020B0603020102020204" pitchFamily="34" charset="0"/>
                          <a:ea typeface="+mn-ea"/>
                          <a:cs typeface="+mn-cs"/>
                        </a:rPr>
                        <a:t>Ability to describe the various features of a Compiler and Interpreter. Specific to JavaScript. Usage of them based on various scenarios. </a:t>
                      </a:r>
                      <a:endParaRPr lang="en-US" sz="10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485893023"/>
                  </a:ext>
                </a:extLst>
              </a:tr>
              <a:tr h="450681">
                <a:tc>
                  <a:txBody>
                    <a:bodyPr/>
                    <a:lstStyle/>
                    <a:p>
                      <a:r>
                        <a:rPr lang="en-US" sz="1000" kern="1200" dirty="0">
                          <a:solidFill>
                            <a:schemeClr val="dk1"/>
                          </a:solidFill>
                          <a:latin typeface="Franklin Gothic Medium" panose="020B0603020102020204" pitchFamily="34" charset="0"/>
                          <a:ea typeface="+mn-ea"/>
                          <a:cs typeface="+mn-cs"/>
                        </a:rPr>
                        <a:t>Hello World in JavaScript</a:t>
                      </a:r>
                    </a:p>
                  </a:txBody>
                  <a:tcPr/>
                </a:tc>
                <a:tc>
                  <a:txBody>
                    <a:bodyPr/>
                    <a:lstStyle/>
                    <a:p>
                      <a:r>
                        <a:rPr lang="en-US" sz="1000" kern="1200" dirty="0">
                          <a:solidFill>
                            <a:schemeClr val="dk1"/>
                          </a:solidFill>
                          <a:latin typeface="Franklin Gothic Medium" panose="020B0603020102020204" pitchFamily="34" charset="0"/>
                          <a:ea typeface="+mn-ea"/>
                          <a:cs typeface="+mn-cs"/>
                        </a:rPr>
                        <a:t>General Study</a:t>
                      </a:r>
                    </a:p>
                    <a:p>
                      <a:r>
                        <a:rPr lang="en-US" sz="1000" kern="1200" dirty="0">
                          <a:solidFill>
                            <a:schemeClr val="dk1"/>
                          </a:solidFill>
                          <a:latin typeface="Franklin Gothic Medium" panose="020B0603020102020204" pitchFamily="34" charset="0"/>
                          <a:ea typeface="+mn-ea"/>
                          <a:cs typeface="+mn-cs"/>
                        </a:rPr>
                        <a:t>Identify the Editor</a:t>
                      </a:r>
                    </a:p>
                  </a:txBody>
                  <a:tcPr/>
                </a:tc>
                <a:tc>
                  <a:txBody>
                    <a:bodyPr/>
                    <a:lstStyle/>
                    <a:p>
                      <a:r>
                        <a:rPr lang="en-US" sz="1000" kern="1200" dirty="0">
                          <a:solidFill>
                            <a:schemeClr val="dk1"/>
                          </a:solidFill>
                          <a:latin typeface="Franklin Gothic Medium" panose="020B0603020102020204" pitchFamily="34" charset="0"/>
                          <a:ea typeface="+mn-ea"/>
                          <a:cs typeface="+mn-cs"/>
                        </a:rPr>
                        <a:t>Print the Hello World using JavaScript</a:t>
                      </a:r>
                    </a:p>
                  </a:txBody>
                  <a:tcPr/>
                </a:tc>
                <a:extLst>
                  <a:ext uri="{0D108BD9-81ED-4DB2-BD59-A6C34878D82A}">
                    <a16:rowId xmlns:a16="http://schemas.microsoft.com/office/drawing/2014/main" val="2913857713"/>
                  </a:ext>
                </a:extLst>
              </a:tr>
              <a:tr h="450681">
                <a:tc>
                  <a:txBody>
                    <a:bodyPr/>
                    <a:lstStyle/>
                    <a:p>
                      <a:r>
                        <a:rPr lang="en-US" sz="1000" kern="1200" dirty="0">
                          <a:solidFill>
                            <a:schemeClr val="dk1"/>
                          </a:solidFill>
                          <a:latin typeface="Franklin Gothic Medium" panose="020B0603020102020204" pitchFamily="34" charset="0"/>
                          <a:ea typeface="+mn-ea"/>
                          <a:cs typeface="+mn-cs"/>
                        </a:rPr>
                        <a:t>Operators, Variable</a:t>
                      </a:r>
                    </a:p>
                  </a:txBody>
                  <a:tcPr/>
                </a:tc>
                <a:tc>
                  <a:txBody>
                    <a:bodyPr/>
                    <a:lstStyle/>
                    <a:p>
                      <a:r>
                        <a:rPr lang="en-US" sz="1000" kern="1200" dirty="0">
                          <a:solidFill>
                            <a:schemeClr val="dk1"/>
                          </a:solidFill>
                          <a:latin typeface="Franklin Gothic Medium" panose="020B0603020102020204" pitchFamily="34" charset="0"/>
                          <a:ea typeface="+mn-ea"/>
                          <a:cs typeface="+mn-cs"/>
                        </a:rPr>
                        <a:t>General Study</a:t>
                      </a:r>
                    </a:p>
                  </a:txBody>
                  <a:tcPr/>
                </a:tc>
                <a:tc>
                  <a:txBody>
                    <a:bodyPr/>
                    <a:lstStyle/>
                    <a:p>
                      <a:r>
                        <a:rPr lang="en-US" sz="1000" kern="1200" dirty="0">
                          <a:solidFill>
                            <a:schemeClr val="dk1"/>
                          </a:solidFill>
                          <a:latin typeface="Franklin Gothic Medium" panose="020B0603020102020204" pitchFamily="34" charset="0"/>
                          <a:ea typeface="+mn-ea"/>
                          <a:cs typeface="+mn-cs"/>
                        </a:rPr>
                        <a:t>Create a variable called x, assign the value 50 to it and print x</a:t>
                      </a:r>
                    </a:p>
                    <a:p>
                      <a:r>
                        <a:rPr lang="en-US" sz="1000" kern="1200" dirty="0">
                          <a:solidFill>
                            <a:schemeClr val="dk1"/>
                          </a:solidFill>
                          <a:latin typeface="Franklin Gothic Medium" panose="020B0603020102020204" pitchFamily="34" charset="0"/>
                          <a:ea typeface="+mn-ea"/>
                          <a:cs typeface="+mn-cs"/>
                        </a:rPr>
                        <a:t>Create a variable called z, assign x + y to it, and display the result in console</a:t>
                      </a:r>
                    </a:p>
                    <a:p>
                      <a:r>
                        <a:rPr lang="en-US" sz="1000" kern="1200" dirty="0">
                          <a:solidFill>
                            <a:schemeClr val="dk1"/>
                          </a:solidFill>
                          <a:latin typeface="Franklin Gothic Medium" panose="020B0603020102020204" pitchFamily="34" charset="0"/>
                          <a:ea typeface="+mn-ea"/>
                          <a:cs typeface="+mn-cs"/>
                        </a:rPr>
                        <a:t>Print the value of 15</a:t>
                      </a:r>
                      <a:r>
                        <a:rPr lang="en-US" sz="1000" kern="1200" baseline="0" dirty="0">
                          <a:solidFill>
                            <a:schemeClr val="dk1"/>
                          </a:solidFill>
                          <a:latin typeface="Franklin Gothic Medium" panose="020B0603020102020204" pitchFamily="34" charset="0"/>
                          <a:ea typeface="+mn-ea"/>
                          <a:cs typeface="+mn-cs"/>
                        </a:rPr>
                        <a:t> divided by 3, Print the value of reminder of 15 by 7</a:t>
                      </a:r>
                      <a:endParaRPr lang="en-US" sz="10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3082933021"/>
                  </a:ext>
                </a:extLst>
              </a:tr>
              <a:tr h="450681">
                <a:tc>
                  <a:txBody>
                    <a:bodyPr/>
                    <a:lstStyle/>
                    <a:p>
                      <a:r>
                        <a:rPr lang="en-US" sz="1000" kern="1200" dirty="0">
                          <a:solidFill>
                            <a:schemeClr val="dk1"/>
                          </a:solidFill>
                          <a:latin typeface="Franklin Gothic Medium" panose="020B0603020102020204" pitchFamily="34" charset="0"/>
                          <a:ea typeface="+mn-ea"/>
                          <a:cs typeface="+mn-cs"/>
                        </a:rPr>
                        <a:t>Data Types, Type</a:t>
                      </a:r>
                      <a:r>
                        <a:rPr lang="en-US" sz="1000" kern="1200" baseline="0" dirty="0">
                          <a:solidFill>
                            <a:schemeClr val="dk1"/>
                          </a:solidFill>
                          <a:latin typeface="Franklin Gothic Medium" panose="020B0603020102020204" pitchFamily="34" charset="0"/>
                          <a:ea typeface="+mn-ea"/>
                          <a:cs typeface="+mn-cs"/>
                        </a:rPr>
                        <a:t> Conversions</a:t>
                      </a:r>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General Study</a:t>
                      </a:r>
                    </a:p>
                  </a:txBody>
                  <a:tcPr/>
                </a:tc>
                <a:tc>
                  <a:txBody>
                    <a:bodyPr/>
                    <a:lstStyle/>
                    <a:p>
                      <a:r>
                        <a:rPr lang="en-US" sz="1000" kern="1200" dirty="0">
                          <a:solidFill>
                            <a:schemeClr val="dk1"/>
                          </a:solidFill>
                          <a:latin typeface="Franklin Gothic Medium" panose="020B0603020102020204" pitchFamily="34" charset="0"/>
                          <a:ea typeface="+mn-ea"/>
                          <a:cs typeface="+mn-cs"/>
                        </a:rPr>
                        <a:t>Accept any</a:t>
                      </a:r>
                      <a:r>
                        <a:rPr lang="en-US" sz="1000" kern="1200" baseline="0" dirty="0">
                          <a:solidFill>
                            <a:schemeClr val="dk1"/>
                          </a:solidFill>
                          <a:latin typeface="Franklin Gothic Medium" panose="020B0603020102020204" pitchFamily="34" charset="0"/>
                          <a:ea typeface="+mn-ea"/>
                          <a:cs typeface="+mn-cs"/>
                        </a:rPr>
                        <a:t> date as String and convert in to Date format (MM/DD/YY)</a:t>
                      </a:r>
                    </a:p>
                    <a:p>
                      <a:r>
                        <a:rPr lang="en-US" sz="1000" kern="1200" baseline="0" dirty="0">
                          <a:solidFill>
                            <a:schemeClr val="dk1"/>
                          </a:solidFill>
                          <a:latin typeface="Franklin Gothic Medium" panose="020B0603020102020204" pitchFamily="34" charset="0"/>
                          <a:ea typeface="+mn-ea"/>
                          <a:cs typeface="+mn-cs"/>
                        </a:rPr>
                        <a:t>Concatenate the first name, last name, a hyphen and employee id and print</a:t>
                      </a:r>
                      <a:endParaRPr lang="en-US" sz="10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1180039168"/>
                  </a:ext>
                </a:extLst>
              </a:tr>
              <a:tr h="450681">
                <a:tc>
                  <a:txBody>
                    <a:bodyPr/>
                    <a:lstStyle/>
                    <a:p>
                      <a:r>
                        <a:rPr lang="en-US" sz="1000" kern="1200" dirty="0">
                          <a:solidFill>
                            <a:schemeClr val="dk1"/>
                          </a:solidFill>
                          <a:latin typeface="Franklin Gothic Medium" panose="020B0603020102020204" pitchFamily="34" charset="0"/>
                          <a:ea typeface="+mn-ea"/>
                          <a:cs typeface="+mn-cs"/>
                        </a:rPr>
                        <a:t>Exercises</a:t>
                      </a:r>
                    </a:p>
                  </a:txBody>
                  <a:tcPr/>
                </a:tc>
                <a:tc>
                  <a:txBody>
                    <a:bodyPr/>
                    <a:lstStyle/>
                    <a:p>
                      <a:r>
                        <a:rPr lang="en-US" sz="1000" kern="1200" dirty="0">
                          <a:solidFill>
                            <a:schemeClr val="dk1"/>
                          </a:solidFill>
                          <a:latin typeface="Franklin Gothic Medium" panose="020B0603020102020204" pitchFamily="34" charset="0"/>
                          <a:ea typeface="+mn-ea"/>
                          <a:cs typeface="+mn-cs"/>
                        </a:rPr>
                        <a:t>Print your name (full name), college,</a:t>
                      </a:r>
                      <a:r>
                        <a:rPr lang="en-US" sz="1000" kern="1200" baseline="0" dirty="0">
                          <a:solidFill>
                            <a:schemeClr val="dk1"/>
                          </a:solidFill>
                          <a:latin typeface="Franklin Gothic Medium" panose="020B0603020102020204" pitchFamily="34" charset="0"/>
                          <a:ea typeface="+mn-ea"/>
                          <a:cs typeface="+mn-cs"/>
                        </a:rPr>
                        <a:t> year of passing, hobbies, current date in MM/DD/YYYY format in separate lines</a:t>
                      </a:r>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Review</a:t>
                      </a:r>
                      <a:r>
                        <a:rPr lang="en-US" sz="1000" kern="1200" baseline="0" dirty="0">
                          <a:solidFill>
                            <a:schemeClr val="dk1"/>
                          </a:solidFill>
                          <a:latin typeface="Franklin Gothic Medium" panose="020B0603020102020204" pitchFamily="34" charset="0"/>
                          <a:ea typeface="+mn-ea"/>
                          <a:cs typeface="+mn-cs"/>
                        </a:rPr>
                        <a:t> the implementation</a:t>
                      </a:r>
                    </a:p>
                    <a:p>
                      <a:r>
                        <a:rPr lang="en-US" sz="1000" kern="1200" baseline="0" dirty="0">
                          <a:solidFill>
                            <a:schemeClr val="dk1"/>
                          </a:solidFill>
                          <a:latin typeface="Franklin Gothic Medium" panose="020B0603020102020204" pitchFamily="34" charset="0"/>
                          <a:ea typeface="+mn-ea"/>
                          <a:cs typeface="+mn-cs"/>
                        </a:rPr>
                        <a:t>Provide feedback </a:t>
                      </a:r>
                    </a:p>
                    <a:p>
                      <a:r>
                        <a:rPr lang="en-US" sz="1000" kern="1200" baseline="0" dirty="0">
                          <a:solidFill>
                            <a:schemeClr val="dk1"/>
                          </a:solidFill>
                          <a:latin typeface="Franklin Gothic Medium" panose="020B0603020102020204" pitchFamily="34" charset="0"/>
                          <a:ea typeface="+mn-ea"/>
                          <a:cs typeface="+mn-cs"/>
                        </a:rPr>
                        <a:t>Everyone should explain what they have learnt facilitated by a quick discussion and recap</a:t>
                      </a:r>
                      <a:endParaRPr lang="en-US" sz="10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2931881352"/>
                  </a:ext>
                </a:extLst>
              </a:tr>
            </a:tbl>
          </a:graphicData>
        </a:graphic>
      </p:graphicFrame>
    </p:spTree>
    <p:extLst>
      <p:ext uri="{BB962C8B-B14F-4D97-AF65-F5344CB8AC3E}">
        <p14:creationId xmlns:p14="http://schemas.microsoft.com/office/powerpoint/2010/main" val="18204961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1 – Introduction to Programming</a:t>
            </a:r>
            <a:r>
              <a:rPr lang="en-US"/>
              <a:t>, JavaScript</a:t>
            </a:r>
            <a:endParaRPr lang="en-US" dirty="0"/>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948314526"/>
              </p:ext>
            </p:extLst>
          </p:nvPr>
        </p:nvGraphicFramePr>
        <p:xfrm>
          <a:off x="49420" y="632526"/>
          <a:ext cx="9034945" cy="2455842"/>
        </p:xfrm>
        <a:graphic>
          <a:graphicData uri="http://schemas.openxmlformats.org/drawingml/2006/table">
            <a:tbl>
              <a:tblPr firstRow="1" bandRow="1">
                <a:tableStyleId>{7DF18680-E054-41AD-8BC1-D1AEF772440D}</a:tableStyleId>
              </a:tblPr>
              <a:tblGrid>
                <a:gridCol w="1586716">
                  <a:extLst>
                    <a:ext uri="{9D8B030D-6E8A-4147-A177-3AD203B41FA5}">
                      <a16:colId xmlns:a16="http://schemas.microsoft.com/office/drawing/2014/main" val="1835673438"/>
                    </a:ext>
                  </a:extLst>
                </a:gridCol>
                <a:gridCol w="3124708">
                  <a:extLst>
                    <a:ext uri="{9D8B030D-6E8A-4147-A177-3AD203B41FA5}">
                      <a16:colId xmlns:a16="http://schemas.microsoft.com/office/drawing/2014/main" val="1996137512"/>
                    </a:ext>
                  </a:extLst>
                </a:gridCol>
                <a:gridCol w="4323521">
                  <a:extLst>
                    <a:ext uri="{9D8B030D-6E8A-4147-A177-3AD203B41FA5}">
                      <a16:colId xmlns:a16="http://schemas.microsoft.com/office/drawing/2014/main" val="3437017552"/>
                    </a:ext>
                  </a:extLst>
                </a:gridCol>
              </a:tblGrid>
              <a:tr h="450681">
                <a:tc>
                  <a:txBody>
                    <a:bodyPr/>
                    <a:lstStyle/>
                    <a:p>
                      <a:r>
                        <a:rPr lang="en-US" dirty="0"/>
                        <a:t>Topic</a:t>
                      </a:r>
                    </a:p>
                  </a:txBody>
                  <a:tcPr/>
                </a:tc>
                <a:tc>
                  <a:txBody>
                    <a:bodyPr/>
                    <a:lstStyle/>
                    <a:p>
                      <a:r>
                        <a:rPr lang="en-US" dirty="0"/>
                        <a:t>References </a:t>
                      </a:r>
                    </a:p>
                  </a:txBody>
                  <a:tcPr/>
                </a:tc>
                <a:tc>
                  <a:txBody>
                    <a:bodyPr/>
                    <a:lstStyle/>
                    <a:p>
                      <a:r>
                        <a:rPr lang="en-US" dirty="0"/>
                        <a:t>Measure</a:t>
                      </a:r>
                    </a:p>
                  </a:txBody>
                  <a:tcPr/>
                </a:tc>
                <a:extLst>
                  <a:ext uri="{0D108BD9-81ED-4DB2-BD59-A6C34878D82A}">
                    <a16:rowId xmlns:a16="http://schemas.microsoft.com/office/drawing/2014/main" val="116310751"/>
                  </a:ext>
                </a:extLst>
              </a:tr>
              <a:tr h="450681">
                <a:tc>
                  <a:txBody>
                    <a:bodyPr/>
                    <a:lstStyle/>
                    <a:p>
                      <a:r>
                        <a:rPr lang="en-US" sz="1000" kern="1200" dirty="0">
                          <a:solidFill>
                            <a:schemeClr val="dk1"/>
                          </a:solidFill>
                          <a:latin typeface="Franklin Gothic Medium" panose="020B0603020102020204" pitchFamily="34" charset="0"/>
                          <a:ea typeface="+mn-ea"/>
                          <a:cs typeface="+mn-cs"/>
                        </a:rPr>
                        <a:t>Branching</a:t>
                      </a:r>
                    </a:p>
                  </a:txBody>
                  <a:tcPr/>
                </a:tc>
                <a:tc>
                  <a:txBody>
                    <a:bodyPr/>
                    <a:lstStyle/>
                    <a:p>
                      <a:r>
                        <a:rPr lang="en-US" sz="1000" kern="1200" dirty="0">
                          <a:solidFill>
                            <a:schemeClr val="dk1"/>
                          </a:solidFill>
                          <a:latin typeface="Franklin Gothic Medium" panose="020B0603020102020204" pitchFamily="34" charset="0"/>
                          <a:ea typeface="+mn-ea"/>
                          <a:cs typeface="+mn-cs"/>
                        </a:rPr>
                        <a:t>Courses in Pluralsight and LinkedIn</a:t>
                      </a:r>
                    </a:p>
                  </a:txBody>
                  <a:tcPr/>
                </a:tc>
                <a:tc>
                  <a:txBody>
                    <a:bodyPr/>
                    <a:lstStyle/>
                    <a:p>
                      <a:r>
                        <a:rPr lang="en-US" sz="1000" kern="1200" dirty="0">
                          <a:solidFill>
                            <a:schemeClr val="dk1"/>
                          </a:solidFill>
                          <a:latin typeface="Franklin Gothic Medium" panose="020B0603020102020204" pitchFamily="34" charset="0"/>
                          <a:ea typeface="+mn-ea"/>
                          <a:cs typeface="+mn-cs"/>
                        </a:rPr>
                        <a:t>Create a survey to get the information about a employee. Get the base information like name,, contact details etc.</a:t>
                      </a:r>
                    </a:p>
                    <a:p>
                      <a:r>
                        <a:rPr lang="en-US" sz="1000" kern="1200" dirty="0">
                          <a:solidFill>
                            <a:schemeClr val="dk1"/>
                          </a:solidFill>
                          <a:latin typeface="Franklin Gothic Medium" panose="020B0603020102020204" pitchFamily="34" charset="0"/>
                          <a:ea typeface="+mn-ea"/>
                          <a:cs typeface="+mn-cs"/>
                        </a:rPr>
                        <a:t>Get martial status and other details (spouse, children if relevant)</a:t>
                      </a:r>
                    </a:p>
                    <a:p>
                      <a:r>
                        <a:rPr lang="en-US" sz="1000" kern="1200" dirty="0">
                          <a:solidFill>
                            <a:schemeClr val="dk1"/>
                          </a:solidFill>
                          <a:latin typeface="Franklin Gothic Medium" panose="020B0603020102020204" pitchFamily="34" charset="0"/>
                          <a:ea typeface="+mn-ea"/>
                          <a:cs typeface="+mn-cs"/>
                        </a:rPr>
                        <a:t>date of birth (</a:t>
                      </a:r>
                      <a:r>
                        <a:rPr lang="en-US" sz="1000" kern="1200" dirty="0" err="1">
                          <a:solidFill>
                            <a:schemeClr val="dk1"/>
                          </a:solidFill>
                          <a:latin typeface="Franklin Gothic Medium" panose="020B0603020102020204" pitchFamily="34" charset="0"/>
                          <a:ea typeface="+mn-ea"/>
                          <a:cs typeface="+mn-cs"/>
                        </a:rPr>
                        <a:t>dd</a:t>
                      </a:r>
                      <a:r>
                        <a:rPr lang="en-US" sz="1000" kern="1200" dirty="0">
                          <a:solidFill>
                            <a:schemeClr val="dk1"/>
                          </a:solidFill>
                          <a:latin typeface="Franklin Gothic Medium" panose="020B0603020102020204" pitchFamily="34" charset="0"/>
                          <a:ea typeface="+mn-ea"/>
                          <a:cs typeface="+mn-cs"/>
                        </a:rPr>
                        <a:t>/mm/</a:t>
                      </a:r>
                      <a:r>
                        <a:rPr lang="en-US" sz="1000" kern="1200" dirty="0" err="1">
                          <a:solidFill>
                            <a:schemeClr val="dk1"/>
                          </a:solidFill>
                          <a:latin typeface="Franklin Gothic Medium" panose="020B0603020102020204" pitchFamily="34" charset="0"/>
                          <a:ea typeface="+mn-ea"/>
                          <a:cs typeface="+mn-cs"/>
                        </a:rPr>
                        <a:t>yy</a:t>
                      </a:r>
                      <a:r>
                        <a:rPr lang="en-US" sz="1000" kern="1200" dirty="0">
                          <a:solidFill>
                            <a:schemeClr val="dk1"/>
                          </a:solidFill>
                          <a:latin typeface="Franklin Gothic Medium" panose="020B0603020102020204" pitchFamily="34" charset="0"/>
                          <a:ea typeface="+mn-ea"/>
                          <a:cs typeface="+mn-cs"/>
                        </a:rPr>
                        <a:t>) – Convert to format 8 April, 1999</a:t>
                      </a:r>
                    </a:p>
                    <a:p>
                      <a:r>
                        <a:rPr lang="en-US" sz="1000" kern="1200" dirty="0">
                          <a:solidFill>
                            <a:schemeClr val="dk1"/>
                          </a:solidFill>
                          <a:latin typeface="Franklin Gothic Medium" panose="020B0603020102020204" pitchFamily="34" charset="0"/>
                          <a:ea typeface="+mn-ea"/>
                          <a:cs typeface="+mn-cs"/>
                        </a:rPr>
                        <a:t>Educational qualification details as relevant</a:t>
                      </a:r>
                    </a:p>
                    <a:p>
                      <a:r>
                        <a:rPr lang="en-US" sz="1000" kern="1200" dirty="0">
                          <a:solidFill>
                            <a:schemeClr val="dk1"/>
                          </a:solidFill>
                          <a:latin typeface="Franklin Gothic Medium" panose="020B0603020102020204" pitchFamily="34" charset="0"/>
                          <a:ea typeface="+mn-ea"/>
                          <a:cs typeface="+mn-cs"/>
                        </a:rPr>
                        <a:t>Print grade based on percentage of marks &amp; display summary at the end</a:t>
                      </a:r>
                    </a:p>
                  </a:txBody>
                  <a:tcPr/>
                </a:tc>
                <a:extLst>
                  <a:ext uri="{0D108BD9-81ED-4DB2-BD59-A6C34878D82A}">
                    <a16:rowId xmlns:a16="http://schemas.microsoft.com/office/drawing/2014/main" val="1987283087"/>
                  </a:ext>
                </a:extLst>
              </a:tr>
              <a:tr h="450681">
                <a:tc>
                  <a:txBody>
                    <a:bodyPr/>
                    <a:lstStyle/>
                    <a:p>
                      <a:r>
                        <a:rPr lang="en-US" sz="1000" kern="1200" dirty="0">
                          <a:solidFill>
                            <a:schemeClr val="dk1"/>
                          </a:solidFill>
                          <a:latin typeface="Franklin Gothic Medium" panose="020B0603020102020204" pitchFamily="34" charset="0"/>
                          <a:ea typeface="+mn-ea"/>
                          <a:cs typeface="+mn-cs"/>
                        </a:rPr>
                        <a:t>Looping</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Create an array to store multiple employees</a:t>
                      </a:r>
                    </a:p>
                    <a:p>
                      <a:r>
                        <a:rPr lang="en-US" sz="1000" kern="1200" dirty="0">
                          <a:solidFill>
                            <a:schemeClr val="dk1"/>
                          </a:solidFill>
                          <a:latin typeface="Franklin Gothic Medium" panose="020B0603020102020204" pitchFamily="34" charset="0"/>
                          <a:ea typeface="+mn-ea"/>
                          <a:cs typeface="+mn-cs"/>
                        </a:rPr>
                        <a:t>Display the employees based on the category choice by the user</a:t>
                      </a:r>
                    </a:p>
                    <a:p>
                      <a:r>
                        <a:rPr lang="en-US" sz="1000" kern="1200" dirty="0">
                          <a:solidFill>
                            <a:schemeClr val="dk1"/>
                          </a:solidFill>
                          <a:latin typeface="Franklin Gothic Medium" panose="020B0603020102020204" pitchFamily="34" charset="0"/>
                          <a:ea typeface="+mn-ea"/>
                          <a:cs typeface="+mn-cs"/>
                        </a:rPr>
                        <a:t>Categories would be martial status or grade in </a:t>
                      </a:r>
                      <a:r>
                        <a:rPr lang="en-US" sz="1000" kern="1200" dirty="0" err="1">
                          <a:solidFill>
                            <a:schemeClr val="dk1"/>
                          </a:solidFill>
                          <a:latin typeface="Franklin Gothic Medium" panose="020B0603020102020204" pitchFamily="34" charset="0"/>
                          <a:ea typeface="+mn-ea"/>
                          <a:cs typeface="+mn-cs"/>
                        </a:rPr>
                        <a:t>graguation</a:t>
                      </a:r>
                      <a:endParaRPr lang="en-US" sz="1000" kern="1200" dirty="0">
                        <a:solidFill>
                          <a:schemeClr val="dk1"/>
                        </a:solidFill>
                        <a:latin typeface="Franklin Gothic Medium" panose="020B0603020102020204" pitchFamily="34" charset="0"/>
                        <a:ea typeface="+mn-ea"/>
                        <a:cs typeface="+mn-cs"/>
                      </a:endParaRPr>
                    </a:p>
                  </a:txBody>
                  <a:tcPr/>
                </a:tc>
                <a:extLst>
                  <a:ext uri="{0D108BD9-81ED-4DB2-BD59-A6C34878D82A}">
                    <a16:rowId xmlns:a16="http://schemas.microsoft.com/office/drawing/2014/main" val="485893023"/>
                  </a:ext>
                </a:extLst>
              </a:tr>
              <a:tr h="450681">
                <a:tc>
                  <a:txBody>
                    <a:bodyPr/>
                    <a:lstStyle/>
                    <a:p>
                      <a:r>
                        <a:rPr lang="en-US" sz="1000" kern="1200" dirty="0">
                          <a:solidFill>
                            <a:schemeClr val="dk1"/>
                          </a:solidFill>
                          <a:latin typeface="Franklin Gothic Medium" panose="020B0603020102020204" pitchFamily="34" charset="0"/>
                          <a:ea typeface="+mn-ea"/>
                          <a:cs typeface="+mn-cs"/>
                        </a:rPr>
                        <a:t>Functions</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Franklin Gothic Medium" panose="020B0603020102020204" pitchFamily="34" charset="0"/>
                          <a:ea typeface="+mn-ea"/>
                          <a:cs typeface="+mn-cs"/>
                        </a:rPr>
                        <a:t>Courses in Pluralsight and LinkedIn</a:t>
                      </a:r>
                    </a:p>
                    <a:p>
                      <a:endParaRPr lang="en-US" sz="1000" kern="1200" dirty="0">
                        <a:solidFill>
                          <a:schemeClr val="dk1"/>
                        </a:solidFill>
                        <a:latin typeface="Franklin Gothic Medium" panose="020B0603020102020204" pitchFamily="34" charset="0"/>
                        <a:ea typeface="+mn-ea"/>
                        <a:cs typeface="+mn-cs"/>
                      </a:endParaRPr>
                    </a:p>
                  </a:txBody>
                  <a:tcPr/>
                </a:tc>
                <a:tc>
                  <a:txBody>
                    <a:bodyPr/>
                    <a:lstStyle/>
                    <a:p>
                      <a:r>
                        <a:rPr lang="en-US" sz="1000" kern="1200" dirty="0">
                          <a:solidFill>
                            <a:schemeClr val="dk1"/>
                          </a:solidFill>
                          <a:latin typeface="Franklin Gothic Medium" panose="020B0603020102020204" pitchFamily="34" charset="0"/>
                          <a:ea typeface="+mn-ea"/>
                          <a:cs typeface="+mn-cs"/>
                        </a:rPr>
                        <a:t>Simplify the above program by structuring the above code into functions</a:t>
                      </a:r>
                    </a:p>
                  </a:txBody>
                  <a:tcPr/>
                </a:tc>
                <a:extLst>
                  <a:ext uri="{0D108BD9-81ED-4DB2-BD59-A6C34878D82A}">
                    <a16:rowId xmlns:a16="http://schemas.microsoft.com/office/drawing/2014/main" val="2913857713"/>
                  </a:ext>
                </a:extLst>
              </a:tr>
            </a:tbl>
          </a:graphicData>
        </a:graphic>
      </p:graphicFrame>
    </p:spTree>
    <p:extLst>
      <p:ext uri="{BB962C8B-B14F-4D97-AF65-F5344CB8AC3E}">
        <p14:creationId xmlns:p14="http://schemas.microsoft.com/office/powerpoint/2010/main" val="3844797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2"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2 – Object Oriented Programming</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5" name="Diagram 4">
            <a:extLst>
              <a:ext uri="{FF2B5EF4-FFF2-40B4-BE49-F238E27FC236}">
                <a16:creationId xmlns:a16="http://schemas.microsoft.com/office/drawing/2014/main" id="{EB025538-D443-44CB-B534-006C9E3151CE}"/>
              </a:ext>
            </a:extLst>
          </p:cNvPr>
          <p:cNvGraphicFramePr/>
          <p:nvPr>
            <p:extLst>
              <p:ext uri="{D42A27DB-BD31-4B8C-83A1-F6EECF244321}">
                <p14:modId xmlns:p14="http://schemas.microsoft.com/office/powerpoint/2010/main" val="2879007734"/>
              </p:ext>
            </p:extLst>
          </p:nvPr>
        </p:nvGraphicFramePr>
        <p:xfrm>
          <a:off x="158750" y="0"/>
          <a:ext cx="8894939" cy="47929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133840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5"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2 – Object Oriented Programming</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4" name="Diagram 3">
            <a:extLst>
              <a:ext uri="{FF2B5EF4-FFF2-40B4-BE49-F238E27FC236}">
                <a16:creationId xmlns:a16="http://schemas.microsoft.com/office/drawing/2014/main" id="{8B983060-5B8D-4459-8769-151B929FDB9D}"/>
              </a:ext>
            </a:extLst>
          </p:cNvPr>
          <p:cNvGraphicFramePr/>
          <p:nvPr>
            <p:extLst>
              <p:ext uri="{D42A27DB-BD31-4B8C-83A1-F6EECF244321}">
                <p14:modId xmlns:p14="http://schemas.microsoft.com/office/powerpoint/2010/main" val="1673091821"/>
              </p:ext>
            </p:extLst>
          </p:nvPr>
        </p:nvGraphicFramePr>
        <p:xfrm>
          <a:off x="158750" y="474480"/>
          <a:ext cx="8872361" cy="42657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21891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0" name="think-cell Slide" r:id="rId5" imgW="216" imgH="216" progId="TCLayout.ActiveDocument.1">
                  <p:embed/>
                </p:oleObj>
              </mc:Choice>
              <mc:Fallback>
                <p:oleObj name="think-cell Slide" r:id="rId5" imgW="216" imgH="21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prstClr val="white"/>
              </a:solidFill>
              <a:latin typeface="Franklin Gothic Demi Cond" panose="020B0706030402020204" pitchFamily="34" charset="0"/>
              <a:sym typeface="Franklin Gothic Demi Cond" panose="020B0706030402020204" pitchFamily="34" charset="0"/>
            </a:endParaRPr>
          </a:p>
        </p:txBody>
      </p:sp>
      <p:sp>
        <p:nvSpPr>
          <p:cNvPr id="6" name="Title 5"/>
          <p:cNvSpPr>
            <a:spLocks noGrp="1"/>
          </p:cNvSpPr>
          <p:nvPr>
            <p:ph type="title"/>
          </p:nvPr>
        </p:nvSpPr>
        <p:spPr>
          <a:xfrm>
            <a:off x="476252" y="83774"/>
            <a:ext cx="8378188" cy="307777"/>
          </a:xfrm>
        </p:spPr>
        <p:txBody>
          <a:bodyPr anchor="t" anchorCtr="0"/>
          <a:lstStyle/>
          <a:p>
            <a:r>
              <a:rPr lang="en-US" dirty="0"/>
              <a:t>Day 2 – Object Oriented Programming</a:t>
            </a:r>
          </a:p>
        </p:txBody>
      </p:sp>
      <p:sp>
        <p:nvSpPr>
          <p:cNvPr id="14" name="Rectangle 13"/>
          <p:cNvSpPr/>
          <p:nvPr/>
        </p:nvSpPr>
        <p:spPr>
          <a:xfrm>
            <a:off x="0" y="485646"/>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sp>
        <p:nvSpPr>
          <p:cNvPr id="15" name="Rectangle 14"/>
          <p:cNvSpPr/>
          <p:nvPr/>
        </p:nvSpPr>
        <p:spPr>
          <a:xfrm>
            <a:off x="0" y="4740195"/>
            <a:ext cx="9144000" cy="52785"/>
          </a:xfrm>
          <a:prstGeom prst="rect">
            <a:avLst/>
          </a:prstGeom>
          <a:gradFill flip="none" rotWithShape="1">
            <a:gsLst>
              <a:gs pos="0">
                <a:srgbClr val="0079C1">
                  <a:shade val="30000"/>
                  <a:satMod val="115000"/>
                </a:srgbClr>
              </a:gs>
              <a:gs pos="50000">
                <a:srgbClr val="0079C1">
                  <a:shade val="67500"/>
                  <a:satMod val="115000"/>
                </a:srgbClr>
              </a:gs>
              <a:gs pos="100000">
                <a:srgbClr val="0079C1">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894"/>
            <a:endParaRPr lang="en-US" dirty="0">
              <a:solidFill>
                <a:prstClr val="white"/>
              </a:solidFill>
              <a:latin typeface="Franklin Gothic Book" panose="020B0503020102020204" pitchFamily="34" charset="0"/>
            </a:endParaRPr>
          </a:p>
        </p:txBody>
      </p:sp>
      <p:graphicFrame>
        <p:nvGraphicFramePr>
          <p:cNvPr id="7" name="Diagram 6">
            <a:extLst>
              <a:ext uri="{FF2B5EF4-FFF2-40B4-BE49-F238E27FC236}">
                <a16:creationId xmlns:a16="http://schemas.microsoft.com/office/drawing/2014/main" id="{363B5B46-12AF-4AD2-9AB4-D47D30BCF740}"/>
              </a:ext>
            </a:extLst>
          </p:cNvPr>
          <p:cNvGraphicFramePr/>
          <p:nvPr>
            <p:extLst>
              <p:ext uri="{D42A27DB-BD31-4B8C-83A1-F6EECF244321}">
                <p14:modId xmlns:p14="http://schemas.microsoft.com/office/powerpoint/2010/main" val="320204859"/>
              </p:ext>
            </p:extLst>
          </p:nvPr>
        </p:nvGraphicFramePr>
        <p:xfrm>
          <a:off x="158750" y="632526"/>
          <a:ext cx="8695690" cy="200942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57389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BqFhqqSRbC33QipJp17xg"/>
</p:tagLst>
</file>

<file path=ppt/theme/theme1.xml><?xml version="1.0" encoding="utf-8"?>
<a:theme xmlns:a="http://schemas.openxmlformats.org/drawingml/2006/main" name="Custom Design">
  <a:themeElements>
    <a:clrScheme name="Custom 3">
      <a:dk1>
        <a:srgbClr val="757070"/>
      </a:dk1>
      <a:lt1>
        <a:sysClr val="window" lastClr="FFFFFF"/>
      </a:lt1>
      <a:dk2>
        <a:srgbClr val="808080"/>
      </a:dk2>
      <a:lt2>
        <a:srgbClr val="E7E6E6"/>
      </a:lt2>
      <a:accent1>
        <a:srgbClr val="AC000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0714D6-F825-004A-9C1C-C58B29AFCAA1}" vid="{EFC4A67A-708B-3349-96F4-33E4F1A956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753F6C-A963-4230-A820-7F456A3657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9E1179C-BDA5-45EA-AD90-D6B77F7164C2}">
  <ds:schemaRefs>
    <ds:schemaRef ds:uri="http://schemas.microsoft.com/sharepoint/v3/contenttype/forms"/>
  </ds:schemaRefs>
</ds:datastoreItem>
</file>

<file path=customXml/itemProps3.xml><?xml version="1.0" encoding="utf-8"?>
<ds:datastoreItem xmlns:ds="http://schemas.openxmlformats.org/officeDocument/2006/customXml" ds:itemID="{A1606B81-948D-43E5-B215-6DF7E9A5B19C}">
  <ds:schemaRefs>
    <ds:schemaRef ds:uri="http://purl.org/dc/elements/1.1/"/>
    <ds:schemaRef ds:uri="http://schemas.openxmlformats.org/package/2006/metadata/core-properties"/>
    <ds:schemaRef ds:uri="http://www.w3.org/XML/1998/namespace"/>
    <ds:schemaRef ds:uri="http://schemas.microsoft.com/office/2006/documentManagement/types"/>
    <ds:schemaRef ds:uri="http://purl.org/dc/terms/"/>
    <ds:schemaRef ds:uri="http://schemas.microsoft.com/office/2006/metadata/properti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5968</TotalTime>
  <Words>2276</Words>
  <Application>Microsoft Office PowerPoint</Application>
  <PresentationFormat>On-screen Show (16:9)</PresentationFormat>
  <Paragraphs>270</Paragraphs>
  <Slides>21</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Calibri Light</vt:lpstr>
      <vt:lpstr>Franklin Gothic Book</vt:lpstr>
      <vt:lpstr>Franklin Gothic Demi Cond</vt:lpstr>
      <vt:lpstr>Franklin Gothic Medium</vt:lpstr>
      <vt:lpstr>Myriad Pro Regular</vt:lpstr>
      <vt:lpstr>Custom Design</vt:lpstr>
      <vt:lpstr>think-cell Slide</vt:lpstr>
      <vt:lpstr>PowerPoint Presentation</vt:lpstr>
      <vt:lpstr>Training Plan</vt:lpstr>
      <vt:lpstr>Training Plan</vt:lpstr>
      <vt:lpstr>Week 1 – JavaScript Fundamentals</vt:lpstr>
      <vt:lpstr>Day 1 – Introduction to Programming, JavaScript</vt:lpstr>
      <vt:lpstr>Day 1 – Introduction to Programming, JavaScript</vt:lpstr>
      <vt:lpstr>Day 2 – Object Oriented Programming</vt:lpstr>
      <vt:lpstr>Day 2 – Object Oriented Programming</vt:lpstr>
      <vt:lpstr>Day 2 – Object Oriented Programming</vt:lpstr>
      <vt:lpstr>Day 2 – Object Oriented Programming - Measure </vt:lpstr>
      <vt:lpstr>Day 3 – Object Oriented Programming</vt:lpstr>
      <vt:lpstr>Day 3 – Introduction to Object Orientated Programming using JavaScript</vt:lpstr>
      <vt:lpstr>Day 4 – Introduction to Object Orientated Programming using JavaScript</vt:lpstr>
      <vt:lpstr>Day 4 – Introduction to Object Orientated Programming using JavaScript</vt:lpstr>
      <vt:lpstr>Day 5 – Week1 assignment using JavaScript</vt:lpstr>
      <vt:lpstr>Day 6 – Persistence</vt:lpstr>
      <vt:lpstr>Day 7 – Persistence</vt:lpstr>
      <vt:lpstr>Day 8,9 – NodeJS, NPM, Unit testing</vt:lpstr>
      <vt:lpstr>Day 8,9 – NodeJS, NPM, Unit testing</vt:lpstr>
      <vt:lpstr>Day 10  – NodeJS, NPM, Unit test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nay Kumar Vijayakumar (UST, IND)</dc:creator>
  <cp:lastModifiedBy>Balaji A M(UST,IN)</cp:lastModifiedBy>
  <cp:revision>1345</cp:revision>
  <dcterms:created xsi:type="dcterms:W3CDTF">2017-02-28T01:53:19Z</dcterms:created>
  <dcterms:modified xsi:type="dcterms:W3CDTF">2022-06-29T11:45:35Z</dcterms:modified>
</cp:coreProperties>
</file>